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4"/>
    <p:sldMasterId id="2147483721" r:id="rId5"/>
  </p:sldMasterIdLst>
  <p:notesMasterIdLst>
    <p:notesMasterId r:id="rId37"/>
  </p:notesMasterIdLst>
  <p:handoutMasterIdLst>
    <p:handoutMasterId r:id="rId38"/>
  </p:handoutMasterIdLst>
  <p:sldIdLst>
    <p:sldId id="256" r:id="rId6"/>
    <p:sldId id="1358" r:id="rId7"/>
    <p:sldId id="1400" r:id="rId8"/>
    <p:sldId id="1399" r:id="rId9"/>
    <p:sldId id="1401" r:id="rId10"/>
    <p:sldId id="1361" r:id="rId11"/>
    <p:sldId id="1428" r:id="rId12"/>
    <p:sldId id="1412" r:id="rId13"/>
    <p:sldId id="1407" r:id="rId14"/>
    <p:sldId id="1411" r:id="rId15"/>
    <p:sldId id="1413" r:id="rId16"/>
    <p:sldId id="1425" r:id="rId17"/>
    <p:sldId id="320" r:id="rId18"/>
    <p:sldId id="1367" r:id="rId19"/>
    <p:sldId id="1368" r:id="rId20"/>
    <p:sldId id="1424" r:id="rId21"/>
    <p:sldId id="1409" r:id="rId22"/>
    <p:sldId id="1379" r:id="rId23"/>
    <p:sldId id="1380" r:id="rId24"/>
    <p:sldId id="1395" r:id="rId25"/>
    <p:sldId id="1416" r:id="rId26"/>
    <p:sldId id="1417" r:id="rId27"/>
    <p:sldId id="1423" r:id="rId28"/>
    <p:sldId id="1403" r:id="rId29"/>
    <p:sldId id="1418" r:id="rId30"/>
    <p:sldId id="1404" r:id="rId31"/>
    <p:sldId id="1419" r:id="rId32"/>
    <p:sldId id="1405" r:id="rId33"/>
    <p:sldId id="1420" r:id="rId34"/>
    <p:sldId id="1421" r:id="rId35"/>
    <p:sldId id="1389" r:id="rId36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5970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4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QXZ1HR6\Downloads\pareto-chart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en-US"/>
              <a:t>Defects VS Causes</a:t>
            </a:r>
          </a:p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rich>
      </c:tx>
      <c:layout>
        <c:manualLayout>
          <c:xMode val="edge"/>
          <c:yMode val="edge"/>
          <c:x val="0.39872470395469489"/>
          <c:y val="1.3550171362030409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0047863634270594"/>
          <c:y val="9.9367944860550964E-2"/>
          <c:w val="0.80701880080430244"/>
          <c:h val="0.7452594249116725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ParetoChart!$H$32</c:f>
              <c:strCache>
                <c:ptCount val="1"/>
                <c:pt idx="0">
                  <c:v>Vital Few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25400">
              <a:noFill/>
            </a:ln>
          </c:spPr>
          <c:invertIfNegative val="0"/>
          <c:cat>
            <c:strRef>
              <c:f>ParetoChart!$C$33:$C$48</c:f>
              <c:strCache>
                <c:ptCount val="9"/>
                <c:pt idx="0">
                  <c:v>Surface defects</c:v>
                </c:pt>
                <c:pt idx="1">
                  <c:v>Fit and finish</c:v>
                </c:pt>
                <c:pt idx="2">
                  <c:v>Human errors</c:v>
                </c:pt>
                <c:pt idx="3">
                  <c:v>Improper functioning of part</c:v>
                </c:pt>
                <c:pt idx="4">
                  <c:v>Water line screw loose</c:v>
                </c:pt>
                <c:pt idx="5">
                  <c:v>Door misalignment</c:v>
                </c:pt>
                <c:pt idx="6">
                  <c:v>Shelf trim loose</c:v>
                </c:pt>
                <c:pt idx="7">
                  <c:v>Handle trim loose</c:v>
                </c:pt>
                <c:pt idx="8">
                  <c:v>Wheel misalignment</c:v>
                </c:pt>
              </c:strCache>
            </c:strRef>
          </c:cat>
          <c:val>
            <c:numRef>
              <c:f>ParetoChart!$H$33:$H$48</c:f>
              <c:numCache>
                <c:formatCode>General</c:formatCode>
                <c:ptCount val="9"/>
                <c:pt idx="0">
                  <c:v>50</c:v>
                </c:pt>
                <c:pt idx="1">
                  <c:v>30</c:v>
                </c:pt>
                <c:pt idx="2">
                  <c:v>1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EC-4911-876E-4DC95FBF4656}"/>
            </c:ext>
          </c:extLst>
        </c:ser>
        <c:ser>
          <c:idx val="0"/>
          <c:order val="1"/>
          <c:tx>
            <c:strRef>
              <c:f>ParetoChart!$I$32</c:f>
              <c:strCache>
                <c:ptCount val="1"/>
                <c:pt idx="0">
                  <c:v>Useful Many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25400">
              <a:noFill/>
            </a:ln>
          </c:spPr>
          <c:invertIfNegative val="0"/>
          <c:cat>
            <c:strRef>
              <c:f>ParetoChart!$C$33:$C$48</c:f>
              <c:strCache>
                <c:ptCount val="9"/>
                <c:pt idx="0">
                  <c:v>Surface defects</c:v>
                </c:pt>
                <c:pt idx="1">
                  <c:v>Fit and finish</c:v>
                </c:pt>
                <c:pt idx="2">
                  <c:v>Human errors</c:v>
                </c:pt>
                <c:pt idx="3">
                  <c:v>Improper functioning of part</c:v>
                </c:pt>
                <c:pt idx="4">
                  <c:v>Water line screw loose</c:v>
                </c:pt>
                <c:pt idx="5">
                  <c:v>Door misalignment</c:v>
                </c:pt>
                <c:pt idx="6">
                  <c:v>Shelf trim loose</c:v>
                </c:pt>
                <c:pt idx="7">
                  <c:v>Handle trim loose</c:v>
                </c:pt>
                <c:pt idx="8">
                  <c:v>Wheel misalignment</c:v>
                </c:pt>
              </c:strCache>
            </c:strRef>
          </c:cat>
          <c:val>
            <c:numRef>
              <c:f>ParetoChart!$I$33:$I$48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EC-4911-876E-4DC95FBF4656}"/>
            </c:ext>
          </c:extLst>
        </c:ser>
        <c:ser>
          <c:idx val="4"/>
          <c:order val="4"/>
          <c:tx>
            <c:v>Labels</c:v>
          </c:tx>
          <c:spPr>
            <a:solidFill>
              <a:srgbClr val="660066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7219564061669327"/>
                  <c:y val="-1.806912347338703E-2"/>
                </c:manualLayout>
              </c:layout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7EC-4911-876E-4DC95FBF4656}"/>
                </c:ext>
              </c:extLst>
            </c:dLbl>
            <c:dLbl>
              <c:idx val="2"/>
              <c:layout>
                <c:manualLayout>
                  <c:x val="-4.2530568846358323E-3"/>
                  <c:y val="-3.9746921878667608E-2"/>
                </c:manualLayout>
              </c:layout>
              <c:spPr>
                <a:noFill/>
                <a:ln w="25400">
                  <a:noFill/>
                </a:ln>
              </c:spPr>
              <c:txPr>
                <a:bodyPr rot="-5400000" vert="horz" wrap="square" lIns="38100" tIns="19050" rIns="38100" bIns="19050" anchor="ctr">
                  <a:noAutofit/>
                </a:bodyPr>
                <a:lstStyle/>
                <a:p>
                  <a:pPr algn="ctr"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164274322169059"/>
                      <c:h val="0.105221318879855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7EC-4911-876E-4DC95FBF4656}"/>
                </c:ext>
              </c:extLst>
            </c:dLbl>
            <c:dLbl>
              <c:idx val="3"/>
              <c:layout>
                <c:manualLayout>
                  <c:x val="-0.26368952684742158"/>
                  <c:y val="-2.1680216802168022E-2"/>
                </c:manualLayout>
              </c:layout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EC-4911-876E-4DC95FBF465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2F71EEF5-860D-4218-92CF-07F8F8CE0FE2}" type="CATEGORYNAME">
                      <a:rPr lang="en-US"/>
                      <a:pPr/>
                      <a:t>[CATEGORY NAME]</a:t>
                    </a:fld>
                    <a:endParaRPr lang="en-GB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7EC-4911-876E-4DC95FBF4656}"/>
                </c:ext>
              </c:extLst>
            </c:dLbl>
            <c:spPr>
              <a:noFill/>
              <a:ln w="25400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0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aretoChart!$C$33:$C$48</c:f>
              <c:strCache>
                <c:ptCount val="9"/>
                <c:pt idx="0">
                  <c:v>Surface defects</c:v>
                </c:pt>
                <c:pt idx="1">
                  <c:v>Fit and finish</c:v>
                </c:pt>
                <c:pt idx="2">
                  <c:v>Human errors</c:v>
                </c:pt>
                <c:pt idx="3">
                  <c:v>Improper functioning of part</c:v>
                </c:pt>
                <c:pt idx="4">
                  <c:v>Water line screw loose</c:v>
                </c:pt>
                <c:pt idx="5">
                  <c:v>Door misalignment</c:v>
                </c:pt>
                <c:pt idx="6">
                  <c:v>Shelf trim loose</c:v>
                </c:pt>
                <c:pt idx="7">
                  <c:v>Handle trim loose</c:v>
                </c:pt>
                <c:pt idx="8">
                  <c:v>Wheel misalignment</c:v>
                </c:pt>
              </c:strCache>
            </c:strRef>
          </c:cat>
          <c:val>
            <c:numRef>
              <c:f>ParetoChart!$C$33:$C$48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EC-4911-876E-4DC95FBF4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19031992"/>
        <c:axId val="317364704"/>
      </c:barChart>
      <c:lineChart>
        <c:grouping val="standard"/>
        <c:varyColors val="0"/>
        <c:ser>
          <c:idx val="2"/>
          <c:order val="2"/>
          <c:tx>
            <c:strRef>
              <c:f>ParetoChart!$E$32</c:f>
              <c:strCache>
                <c:ptCount val="1"/>
                <c:pt idx="0">
                  <c:v>Cumulative%</c:v>
                </c:pt>
              </c:strCache>
            </c:strRef>
          </c:tx>
          <c:spPr>
            <a:ln w="25400">
              <a:solidFill>
                <a:srgbClr val="6B0C00"/>
              </a:solidFill>
              <a:prstDash val="solid"/>
            </a:ln>
          </c:spPr>
          <c:marker>
            <c:symbol val="diamond"/>
            <c:size val="6"/>
            <c:spPr>
              <a:solidFill>
                <a:srgbClr val="6B0C00"/>
              </a:solidFill>
              <a:ln>
                <a:solidFill>
                  <a:srgbClr val="6B0C00"/>
                </a:solidFill>
                <a:prstDash val="solid"/>
              </a:ln>
            </c:spPr>
          </c:marker>
          <c:cat>
            <c:strLit>
              <c:ptCount val="9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ParetoChart!$E$33:$E$48</c:f>
              <c:numCache>
                <c:formatCode>0.0%</c:formatCode>
                <c:ptCount val="9"/>
                <c:pt idx="0">
                  <c:v>0.46296296296296297</c:v>
                </c:pt>
                <c:pt idx="1">
                  <c:v>0.7407407407407407</c:v>
                </c:pt>
                <c:pt idx="2">
                  <c:v>0.87962962962962965</c:v>
                </c:pt>
                <c:pt idx="3">
                  <c:v>0.92592592592592593</c:v>
                </c:pt>
                <c:pt idx="4">
                  <c:v>0.95370370370370372</c:v>
                </c:pt>
                <c:pt idx="5">
                  <c:v>0.97222222222222221</c:v>
                </c:pt>
                <c:pt idx="6">
                  <c:v>0.98148148148148151</c:v>
                </c:pt>
                <c:pt idx="7">
                  <c:v>0.9907407407407407</c:v>
                </c:pt>
                <c:pt idx="8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7EC-4911-876E-4DC95FBF4656}"/>
            </c:ext>
          </c:extLst>
        </c:ser>
        <c:ser>
          <c:idx val="3"/>
          <c:order val="3"/>
          <c:tx>
            <c:strRef>
              <c:f>ParetoChart!$J$32</c:f>
              <c:strCache>
                <c:ptCount val="1"/>
                <c:pt idx="0">
                  <c:v>Cut Off %</c:v>
                </c:pt>
              </c:strCache>
            </c:strRef>
          </c:tx>
          <c:spPr>
            <a:ln w="12700">
              <a:solidFill>
                <a:srgbClr val="6B0C00"/>
              </a:solidFill>
              <a:prstDash val="sysDash"/>
            </a:ln>
          </c:spPr>
          <c:marker>
            <c:symbol val="none"/>
          </c:marker>
          <c:cat>
            <c:strLit>
              <c:ptCount val="9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ParetoChart!$J$33:$J$48</c:f>
              <c:numCache>
                <c:formatCode>0%</c:formatCode>
                <c:ptCount val="9"/>
                <c:pt idx="0">
                  <c:v>0.8</c:v>
                </c:pt>
                <c:pt idx="1">
                  <c:v>0.8</c:v>
                </c:pt>
                <c:pt idx="2">
                  <c:v>0.8</c:v>
                </c:pt>
                <c:pt idx="3">
                  <c:v>0.8</c:v>
                </c:pt>
                <c:pt idx="4">
                  <c:v>0.8</c:v>
                </c:pt>
                <c:pt idx="5">
                  <c:v>0.8</c:v>
                </c:pt>
                <c:pt idx="6">
                  <c:v>0.8</c:v>
                </c:pt>
                <c:pt idx="7">
                  <c:v>0.8</c:v>
                </c:pt>
                <c:pt idx="8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17EC-4911-876E-4DC95FBF4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0495704"/>
        <c:axId val="320498448"/>
      </c:lineChart>
      <c:catAx>
        <c:axId val="319031992"/>
        <c:scaling>
          <c:orientation val="minMax"/>
        </c:scaling>
        <c:delete val="0"/>
        <c:axPos val="b"/>
        <c:title>
          <c:tx>
            <c:strRef>
              <c:f>ParetoChart!$C$32</c:f>
              <c:strCache>
                <c:ptCount val="1"/>
                <c:pt idx="0">
                  <c:v>Causes</c:v>
                </c:pt>
              </c:strCache>
            </c:strRef>
          </c:tx>
          <c:layout>
            <c:manualLayout>
              <c:xMode val="edge"/>
              <c:yMode val="edge"/>
              <c:x val="0.43381247790270805"/>
              <c:y val="0.86179089862513403"/>
            </c:manualLayout>
          </c:layout>
          <c:overlay val="0"/>
          <c:spPr>
            <a:noFill/>
            <a:ln w="25400">
              <a:noFill/>
            </a:ln>
          </c:spPr>
          <c:txPr>
            <a:bodyPr/>
            <a:lstStyle/>
            <a:p>
              <a:pPr>
                <a:defRPr sz="1200" b="1" i="0" u="none" strike="noStrike" baseline="0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one"/>
        <c:spPr>
          <a:ln w="3175">
            <a:solidFill>
              <a:srgbClr val="000000"/>
            </a:solidFill>
            <a:prstDash val="solid"/>
          </a:ln>
        </c:spPr>
        <c:crossAx val="317364704"/>
        <c:crosses val="autoZero"/>
        <c:auto val="1"/>
        <c:lblAlgn val="ctr"/>
        <c:lblOffset val="100"/>
        <c:tickMarkSkip val="1"/>
        <c:noMultiLvlLbl val="0"/>
      </c:catAx>
      <c:valAx>
        <c:axId val="317364704"/>
        <c:scaling>
          <c:orientation val="minMax"/>
        </c:scaling>
        <c:delete val="0"/>
        <c:axPos val="l"/>
        <c:title>
          <c:tx>
            <c:strRef>
              <c:f>ParetoChart!$D$32</c:f>
              <c:strCache>
                <c:ptCount val="1"/>
                <c:pt idx="0">
                  <c:v>Defects</c:v>
                </c:pt>
              </c:strCache>
            </c:strRef>
          </c:tx>
          <c:layout>
            <c:manualLayout>
              <c:xMode val="edge"/>
              <c:yMode val="edge"/>
              <c:x val="0"/>
              <c:y val="0.39354239325238816"/>
            </c:manualLayout>
          </c:layout>
          <c:overlay val="0"/>
          <c:spPr>
            <a:noFill/>
            <a:ln w="25400">
              <a:noFill/>
            </a:ln>
          </c:spPr>
          <c:txPr>
            <a:bodyPr/>
            <a:lstStyle/>
            <a:p>
              <a:pPr>
                <a:defRPr sz="1200" b="1" i="0" u="none" strike="noStrike" baseline="0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19031992"/>
        <c:crosses val="autoZero"/>
        <c:crossBetween val="between"/>
      </c:valAx>
      <c:catAx>
        <c:axId val="320495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0498448"/>
        <c:crosses val="autoZero"/>
        <c:auto val="1"/>
        <c:lblAlgn val="ctr"/>
        <c:lblOffset val="100"/>
        <c:noMultiLvlLbl val="0"/>
      </c:catAx>
      <c:valAx>
        <c:axId val="320498448"/>
        <c:scaling>
          <c:orientation val="minMax"/>
          <c:max val="1"/>
          <c:min val="0"/>
        </c:scaling>
        <c:delete val="0"/>
        <c:axPos val="r"/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 </a:t>
                </a:r>
              </a:p>
            </c:rich>
          </c:tx>
          <c:layout>
            <c:manualLayout>
              <c:xMode val="edge"/>
              <c:yMode val="edge"/>
              <c:x val="0.96757194824331172"/>
              <c:y val="0.34959434948680196"/>
            </c:manualLayout>
          </c:layout>
          <c:overlay val="0"/>
          <c:spPr>
            <a:noFill/>
            <a:ln w="25400">
              <a:noFill/>
            </a:ln>
          </c:spPr>
        </c:title>
        <c:numFmt formatCode="0%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20495704"/>
        <c:crosses val="max"/>
        <c:crossBetween val="between"/>
        <c:majorUnit val="0.2"/>
      </c:valAx>
      <c:spPr>
        <a:noFill/>
        <a:ln w="25400">
          <a:noFill/>
        </a:ln>
      </c:spPr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8.3285007439331815E-2"/>
          <c:y val="0.92353441039048756"/>
          <c:w val="0.84051167593649689"/>
          <c:h val="5.9620753992933796E-2"/>
        </c:manualLayout>
      </c:layout>
      <c:overlay val="0"/>
      <c:spPr>
        <a:solidFill>
          <a:srgbClr val="FFFFFF"/>
        </a:solidFill>
        <a:ln w="25400">
          <a:noFill/>
        </a:ln>
      </c:spPr>
      <c:txPr>
        <a:bodyPr/>
        <a:lstStyle/>
        <a:p>
          <a:pPr>
            <a:defRPr sz="92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 w="6350">
      <a:solidFill>
        <a:schemeClr val="tx1"/>
      </a:solidFill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  <a:effectLst/>
          </c:spPr>
          <c:dPt>
            <c:idx val="0"/>
            <c:bubble3D val="0"/>
            <c:explosion val="2"/>
            <c:spPr>
              <a:solidFill>
                <a:schemeClr val="accent3">
                  <a:lumMod val="20000"/>
                  <a:lumOff val="80000"/>
                </a:schemeClr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FC-414E-865E-4618B1A9D0BC}"/>
              </c:ext>
            </c:extLst>
          </c:dPt>
          <c:dPt>
            <c:idx val="1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AFFC-414E-865E-4618B1A9D0BC}"/>
              </c:ext>
            </c:extLst>
          </c:dPt>
          <c:dPt>
            <c:idx val="2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9B-43AD-AB78-7563BF082B77}"/>
              </c:ext>
            </c:extLst>
          </c:dPt>
          <c:dPt>
            <c:idx val="3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E9B-43AD-AB78-7563BF082B77}"/>
              </c:ext>
            </c:extLst>
          </c:dPt>
          <c:dLbls>
            <c:dLbl>
              <c:idx val="0"/>
              <c:layout>
                <c:manualLayout>
                  <c:x val="-0.27834238589916727"/>
                  <c:y val="-0.220007179832935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baseline="0"/>
                      <a:t>Trivial Many
</a:t>
                    </a:r>
                    <a:fld id="{2FBB363A-8855-4E5D-838E-A5080FBD3C69}" type="PERCENTAGE">
                      <a:rPr lang="en-US" sz="1200" baseline="0"/>
                      <a:pPr>
                        <a:defRPr sz="1200"/>
                      </a:pPr>
                      <a:t>[PERCENTAGE]</a:t>
                    </a:fld>
                    <a:endParaRPr lang="en-US" sz="1200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97986920876828"/>
                      <c:h val="0.1259009906980915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AFFC-414E-865E-4618B1A9D0BC}"/>
                </c:ext>
              </c:extLst>
            </c:dLbl>
            <c:dLbl>
              <c:idx val="1"/>
              <c:layout>
                <c:manualLayout>
                  <c:x val="0.22075979512475724"/>
                  <c:y val="0.23372949371643065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Vital Few
</a:t>
                    </a:r>
                    <a:fld id="{3DA2CCFB-3960-4E20-9D0F-0D3B9905B4AF}" type="PERCENTAGE">
                      <a:rPr lang="en-US" baseline="0"/>
                      <a:pPr/>
                      <a:t>[PERCENTAG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3157664304682"/>
                      <c:h val="0.1056607769346381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AFFC-414E-865E-4618B1A9D0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FC-414E-865E-4618B1A9D0BC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accent1"/>
    </a:solidFill>
    <a:ln w="9525" cap="flat" cmpd="sng" algn="ctr">
      <a:solidFill>
        <a:schemeClr val="accent1"/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0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064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>
      <cs:styleClr val="0"/>
    </cs:lnRef>
    <cs:fillRef idx="0"/>
    <cs:effectRef idx="0"/>
    <cs:fontRef idx="minor">
      <cs:styleClr val="0"/>
    </cs:fontRef>
    <cs:defRPr sz="1197" b="1" kern="1200"/>
  </cs:dataLabel>
  <cs:dataLabelCallout>
    <cs:lnRef idx="0">
      <cs:styleClr val="0"/>
    </cs:lnRef>
    <cs:fillRef idx="0"/>
    <cs:effectRef idx="0"/>
    <cs:fontRef idx="minor">
      <cs:styleClr val="0"/>
    </cs:fontRef>
    <cs:spPr>
      <a:solidFill>
        <a:schemeClr val="lt1"/>
      </a:solidFill>
      <a:ln>
        <a:solidFill>
          <a:schemeClr val="phClr"/>
        </a:solidFill>
      </a:ln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0"/>
    </cs:lnRef>
    <cs:fillRef idx="0"/>
    <cs:effectRef idx="0"/>
    <cs:fontRef idx="minor">
      <a:schemeClr val="dk1"/>
    </cs:fontRef>
    <cs:spPr>
      <a:solidFill>
        <a:schemeClr val="lt1"/>
      </a:solidFill>
      <a:ln w="19050"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3.xml.rels><?xml version="1.0" encoding="UTF-8" standalone="yes"?>
<Relationships xmlns="http://schemas.openxmlformats.org/package/2006/relationships"><Relationship Id="rId1" Type="http://schemas.openxmlformats.org/officeDocument/2006/relationships/hyperlink" Target="https://asq.org/quality-resources/matrix-diagram" TargetMode="Externa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hyperlink" Target="https://asq.org/quality-resources/pareto" TargetMode="External"/><Relationship Id="rId2" Type="http://schemas.openxmlformats.org/officeDocument/2006/relationships/hyperlink" Target="https://asq.org/quality-resources/fishbone" TargetMode="External"/><Relationship Id="rId1" Type="http://schemas.openxmlformats.org/officeDocument/2006/relationships/hyperlink" Target="https://asq.org/quality-resources/root-cause-analysis" TargetMode="External"/><Relationship Id="rId4" Type="http://schemas.openxmlformats.org/officeDocument/2006/relationships/hyperlink" Target="https://asq.org/quality-resources/scatter-diagram" TargetMode="External"/></Relationships>
</file>

<file path=ppt/diagrams/_rels/drawing23.xml.rels><?xml version="1.0" encoding="UTF-8" standalone="yes"?>
<Relationships xmlns="http://schemas.openxmlformats.org/package/2006/relationships"><Relationship Id="rId1" Type="http://schemas.openxmlformats.org/officeDocument/2006/relationships/hyperlink" Target="https://asq.org/quality-resources/matrix-diagram" TargetMode="External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hyperlink" Target="https://asq.org/quality-resources/scatter-diagram" TargetMode="External"/><Relationship Id="rId2" Type="http://schemas.openxmlformats.org/officeDocument/2006/relationships/hyperlink" Target="https://asq.org/quality-resources/pareto" TargetMode="External"/><Relationship Id="rId1" Type="http://schemas.openxmlformats.org/officeDocument/2006/relationships/hyperlink" Target="https://asq.org/quality-resources/fishbone" TargetMode="External"/><Relationship Id="rId4" Type="http://schemas.openxmlformats.org/officeDocument/2006/relationships/hyperlink" Target="https://asq.org/quality-resources/root-cause-analysis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CEDF90-009D-4819-8CD6-F4C70CF61D7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4F8C4C25-6517-4061-89B8-D01F5DB1C64B}">
      <dgm:prSet/>
      <dgm:spPr/>
      <dgm:t>
        <a:bodyPr/>
        <a:lstStyle/>
        <a:p>
          <a:r>
            <a:rPr lang="en-US" b="0" i="0"/>
            <a:t>There are many quality tools that can be applied to solving a problem, with steps and procedures specific to the technique. Some approaches are geared more toward identifying true root causes than others, some are more general problem-solving techniques, and others offer support for sustaining successful change.</a:t>
          </a:r>
          <a:endParaRPr lang="en-US"/>
        </a:p>
      </dgm:t>
    </dgm:pt>
    <dgm:pt modelId="{AA1E9BF2-A175-492E-8764-DA1B5C91E041}" type="parTrans" cxnId="{982F5586-42D2-47B9-8560-F99FC9C8E78C}">
      <dgm:prSet/>
      <dgm:spPr/>
      <dgm:t>
        <a:bodyPr/>
        <a:lstStyle/>
        <a:p>
          <a:endParaRPr lang="en-GB"/>
        </a:p>
      </dgm:t>
    </dgm:pt>
    <dgm:pt modelId="{7B0B768F-7B66-47DC-9C0F-C19E8BE644E5}" type="sibTrans" cxnId="{982F5586-42D2-47B9-8560-F99FC9C8E78C}">
      <dgm:prSet/>
      <dgm:spPr/>
      <dgm:t>
        <a:bodyPr/>
        <a:lstStyle/>
        <a:p>
          <a:endParaRPr lang="en-GB"/>
        </a:p>
      </dgm:t>
    </dgm:pt>
    <dgm:pt modelId="{46D41387-E864-4850-A695-C8628564F368}" type="pres">
      <dgm:prSet presAssocID="{6ECEDF90-009D-4819-8CD6-F4C70CF61D72}" presName="linear" presStyleCnt="0">
        <dgm:presLayoutVars>
          <dgm:animLvl val="lvl"/>
          <dgm:resizeHandles val="exact"/>
        </dgm:presLayoutVars>
      </dgm:prSet>
      <dgm:spPr/>
    </dgm:pt>
    <dgm:pt modelId="{73F4724B-C0DF-4AA7-BB9B-FE67BA9099B5}" type="pres">
      <dgm:prSet presAssocID="{4F8C4C25-6517-4061-89B8-D01F5DB1C64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982F5586-42D2-47B9-8560-F99FC9C8E78C}" srcId="{6ECEDF90-009D-4819-8CD6-F4C70CF61D72}" destId="{4F8C4C25-6517-4061-89B8-D01F5DB1C64B}" srcOrd="0" destOrd="0" parTransId="{AA1E9BF2-A175-492E-8764-DA1B5C91E041}" sibTransId="{7B0B768F-7B66-47DC-9C0F-C19E8BE644E5}"/>
    <dgm:cxn modelId="{7E8D49AA-2A11-435E-B735-EEEB42352BE7}" type="presOf" srcId="{6ECEDF90-009D-4819-8CD6-F4C70CF61D72}" destId="{46D41387-E864-4850-A695-C8628564F368}" srcOrd="0" destOrd="0" presId="urn:microsoft.com/office/officeart/2005/8/layout/vList2"/>
    <dgm:cxn modelId="{2A6D8CAE-617E-4532-A300-5A5175B446F2}" type="presOf" srcId="{4F8C4C25-6517-4061-89B8-D01F5DB1C64B}" destId="{73F4724B-C0DF-4AA7-BB9B-FE67BA9099B5}" srcOrd="0" destOrd="0" presId="urn:microsoft.com/office/officeart/2005/8/layout/vList2"/>
    <dgm:cxn modelId="{69EA7694-ED3D-448D-A586-D134501413E5}" type="presParOf" srcId="{46D41387-E864-4850-A695-C8628564F368}" destId="{73F4724B-C0DF-4AA7-BB9B-FE67BA9099B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2BF834AE-989F-4FDF-A2DE-80BD4C05853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8A050B11-397C-45B8-9310-2F64AC82FFDF}">
      <dgm:prSet/>
      <dgm:spPr/>
      <dgm:t>
        <a:bodyPr/>
        <a:lstStyle/>
        <a:p>
          <a:r>
            <a:rPr lang="en-US" dirty="0"/>
            <a:t>It shows the relationship between two variables.</a:t>
          </a:r>
        </a:p>
      </dgm:t>
    </dgm:pt>
    <dgm:pt modelId="{4BA85E74-767C-4BE9-9BA1-49DAA6C28036}" type="parTrans" cxnId="{D271D132-BF5C-41E6-ABE0-821F786E25FE}">
      <dgm:prSet/>
      <dgm:spPr/>
      <dgm:t>
        <a:bodyPr/>
        <a:lstStyle/>
        <a:p>
          <a:endParaRPr lang="en-GB"/>
        </a:p>
      </dgm:t>
    </dgm:pt>
    <dgm:pt modelId="{53AE8B7C-D444-464A-8D07-F7BCE2FA338D}" type="sibTrans" cxnId="{D271D132-BF5C-41E6-ABE0-821F786E25FE}">
      <dgm:prSet/>
      <dgm:spPr/>
      <dgm:t>
        <a:bodyPr/>
        <a:lstStyle/>
        <a:p>
          <a:endParaRPr lang="en-GB"/>
        </a:p>
      </dgm:t>
    </dgm:pt>
    <dgm:pt modelId="{D8107E3B-DE44-44EF-AF7B-1D899622666B}">
      <dgm:prSet/>
      <dgm:spPr/>
      <dgm:t>
        <a:bodyPr/>
        <a:lstStyle/>
        <a:p>
          <a:r>
            <a:rPr lang="en-US"/>
            <a:t>It is the best method to show you a non-linear pattern.</a:t>
          </a:r>
        </a:p>
      </dgm:t>
    </dgm:pt>
    <dgm:pt modelId="{17BC718B-4D03-406B-9AD2-523D4081A63F}" type="parTrans" cxnId="{1A797C51-2F10-4C60-BDAB-A03C89851130}">
      <dgm:prSet/>
      <dgm:spPr/>
      <dgm:t>
        <a:bodyPr/>
        <a:lstStyle/>
        <a:p>
          <a:endParaRPr lang="en-GB"/>
        </a:p>
      </dgm:t>
    </dgm:pt>
    <dgm:pt modelId="{924E193A-79CC-4639-9440-716A34D81639}" type="sibTrans" cxnId="{1A797C51-2F10-4C60-BDAB-A03C89851130}">
      <dgm:prSet/>
      <dgm:spPr/>
      <dgm:t>
        <a:bodyPr/>
        <a:lstStyle/>
        <a:p>
          <a:endParaRPr lang="en-GB"/>
        </a:p>
      </dgm:t>
    </dgm:pt>
    <dgm:pt modelId="{FA02D587-DBF5-4683-B774-158C6709AA08}">
      <dgm:prSet/>
      <dgm:spPr/>
      <dgm:t>
        <a:bodyPr/>
        <a:lstStyle/>
        <a:p>
          <a:r>
            <a:rPr lang="en-US"/>
            <a:t>Observation and reading are straightforward.</a:t>
          </a:r>
        </a:p>
      </dgm:t>
    </dgm:pt>
    <dgm:pt modelId="{D2EB924D-0018-441C-971B-3C877E717D8F}" type="parTrans" cxnId="{A280F807-8AEF-4035-A275-2639681DC43C}">
      <dgm:prSet/>
      <dgm:spPr/>
      <dgm:t>
        <a:bodyPr/>
        <a:lstStyle/>
        <a:p>
          <a:endParaRPr lang="en-GB"/>
        </a:p>
      </dgm:t>
    </dgm:pt>
    <dgm:pt modelId="{9256D0DA-BCA0-45AB-A769-318D47A43A24}" type="sibTrans" cxnId="{A280F807-8AEF-4035-A275-2639681DC43C}">
      <dgm:prSet/>
      <dgm:spPr/>
      <dgm:t>
        <a:bodyPr/>
        <a:lstStyle/>
        <a:p>
          <a:endParaRPr lang="en-GB"/>
        </a:p>
      </dgm:t>
    </dgm:pt>
    <dgm:pt modelId="{846D8B52-AC89-4638-8E65-0685EA088D23}" type="pres">
      <dgm:prSet presAssocID="{2BF834AE-989F-4FDF-A2DE-80BD4C05853B}" presName="linear" presStyleCnt="0">
        <dgm:presLayoutVars>
          <dgm:animLvl val="lvl"/>
          <dgm:resizeHandles val="exact"/>
        </dgm:presLayoutVars>
      </dgm:prSet>
      <dgm:spPr/>
    </dgm:pt>
    <dgm:pt modelId="{ACAAE6FB-0B93-4A18-86DB-B232EEEC46A7}" type="pres">
      <dgm:prSet presAssocID="{8A050B11-397C-45B8-9310-2F64AC82FFD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5CD28580-3B13-466E-A03A-C0A3022A7416}" type="pres">
      <dgm:prSet presAssocID="{53AE8B7C-D444-464A-8D07-F7BCE2FA338D}" presName="spacer" presStyleCnt="0"/>
      <dgm:spPr/>
    </dgm:pt>
    <dgm:pt modelId="{F1FE7910-294E-4118-A9CF-D6396C8E6961}" type="pres">
      <dgm:prSet presAssocID="{D8107E3B-DE44-44EF-AF7B-1D899622666B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02821FC-25D7-4D6D-841A-973D9A8CD95D}" type="pres">
      <dgm:prSet presAssocID="{924E193A-79CC-4639-9440-716A34D81639}" presName="spacer" presStyleCnt="0"/>
      <dgm:spPr/>
    </dgm:pt>
    <dgm:pt modelId="{1A4A0EA6-AD90-4429-8A85-0D10D9775AC7}" type="pres">
      <dgm:prSet presAssocID="{FA02D587-DBF5-4683-B774-158C6709AA08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A280F807-8AEF-4035-A275-2639681DC43C}" srcId="{2BF834AE-989F-4FDF-A2DE-80BD4C05853B}" destId="{FA02D587-DBF5-4683-B774-158C6709AA08}" srcOrd="2" destOrd="0" parTransId="{D2EB924D-0018-441C-971B-3C877E717D8F}" sibTransId="{9256D0DA-BCA0-45AB-A769-318D47A43A24}"/>
    <dgm:cxn modelId="{D271D132-BF5C-41E6-ABE0-821F786E25FE}" srcId="{2BF834AE-989F-4FDF-A2DE-80BD4C05853B}" destId="{8A050B11-397C-45B8-9310-2F64AC82FFDF}" srcOrd="0" destOrd="0" parTransId="{4BA85E74-767C-4BE9-9BA1-49DAA6C28036}" sibTransId="{53AE8B7C-D444-464A-8D07-F7BCE2FA338D}"/>
    <dgm:cxn modelId="{967A2637-EEE7-460F-A22D-1DDC360BED6B}" type="presOf" srcId="{D8107E3B-DE44-44EF-AF7B-1D899622666B}" destId="{F1FE7910-294E-4118-A9CF-D6396C8E6961}" srcOrd="0" destOrd="0" presId="urn:microsoft.com/office/officeart/2005/8/layout/vList2"/>
    <dgm:cxn modelId="{ADCB5A3C-DF2E-4A9B-927B-802BA803789F}" type="presOf" srcId="{8A050B11-397C-45B8-9310-2F64AC82FFDF}" destId="{ACAAE6FB-0B93-4A18-86DB-B232EEEC46A7}" srcOrd="0" destOrd="0" presId="urn:microsoft.com/office/officeart/2005/8/layout/vList2"/>
    <dgm:cxn modelId="{1A797C51-2F10-4C60-BDAB-A03C89851130}" srcId="{2BF834AE-989F-4FDF-A2DE-80BD4C05853B}" destId="{D8107E3B-DE44-44EF-AF7B-1D899622666B}" srcOrd="1" destOrd="0" parTransId="{17BC718B-4D03-406B-9AD2-523D4081A63F}" sibTransId="{924E193A-79CC-4639-9440-716A34D81639}"/>
    <dgm:cxn modelId="{25663CE6-454B-41E1-B7B2-F35852A2CBEC}" type="presOf" srcId="{FA02D587-DBF5-4683-B774-158C6709AA08}" destId="{1A4A0EA6-AD90-4429-8A85-0D10D9775AC7}" srcOrd="0" destOrd="0" presId="urn:microsoft.com/office/officeart/2005/8/layout/vList2"/>
    <dgm:cxn modelId="{CEC081E6-3EAF-4FDC-A9F7-1A1F32EDD17F}" type="presOf" srcId="{2BF834AE-989F-4FDF-A2DE-80BD4C05853B}" destId="{846D8B52-AC89-4638-8E65-0685EA088D23}" srcOrd="0" destOrd="0" presId="urn:microsoft.com/office/officeart/2005/8/layout/vList2"/>
    <dgm:cxn modelId="{863CD0DE-E089-466A-880E-9AFFE18373A3}" type="presParOf" srcId="{846D8B52-AC89-4638-8E65-0685EA088D23}" destId="{ACAAE6FB-0B93-4A18-86DB-B232EEEC46A7}" srcOrd="0" destOrd="0" presId="urn:microsoft.com/office/officeart/2005/8/layout/vList2"/>
    <dgm:cxn modelId="{B2DC58E8-D0AF-4FAF-8F58-18AE66D167D6}" type="presParOf" srcId="{846D8B52-AC89-4638-8E65-0685EA088D23}" destId="{5CD28580-3B13-466E-A03A-C0A3022A7416}" srcOrd="1" destOrd="0" presId="urn:microsoft.com/office/officeart/2005/8/layout/vList2"/>
    <dgm:cxn modelId="{EF7D56B4-7E4F-456F-884E-81343B9AED4F}" type="presParOf" srcId="{846D8B52-AC89-4638-8E65-0685EA088D23}" destId="{F1FE7910-294E-4118-A9CF-D6396C8E6961}" srcOrd="2" destOrd="0" presId="urn:microsoft.com/office/officeart/2005/8/layout/vList2"/>
    <dgm:cxn modelId="{7235FF75-EAFF-40BB-9050-348BB590F6B6}" type="presParOf" srcId="{846D8B52-AC89-4638-8E65-0685EA088D23}" destId="{902821FC-25D7-4D6D-841A-973D9A8CD95D}" srcOrd="3" destOrd="0" presId="urn:microsoft.com/office/officeart/2005/8/layout/vList2"/>
    <dgm:cxn modelId="{D21F5ACA-D508-4B5C-8C55-F4E7488E1778}" type="presParOf" srcId="{846D8B52-AC89-4638-8E65-0685EA088D23}" destId="{1A4A0EA6-AD90-4429-8A85-0D10D9775AC7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491EF5-B01C-4BF2-8C42-2CB1E594D8A9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6BE9C82-3719-44ED-B1D2-E19CD5B1A2C1}">
      <dgm:prSet custT="1"/>
      <dgm:spPr/>
      <dgm:t>
        <a:bodyPr/>
        <a:lstStyle/>
        <a:p>
          <a:r>
            <a:rPr lang="en-IN" sz="1600" dirty="0"/>
            <a:t>DMADV methodology ensures new products/processes achieve Six Sigma capability from launch. </a:t>
          </a:r>
          <a:endParaRPr lang="en-US" sz="1600" dirty="0"/>
        </a:p>
      </dgm:t>
    </dgm:pt>
    <dgm:pt modelId="{128EC4ED-47A8-4ADA-BAD8-608E1022248A}" type="parTrans" cxnId="{0C9D87BE-7ED7-4673-B714-153EC3AF083A}">
      <dgm:prSet/>
      <dgm:spPr/>
      <dgm:t>
        <a:bodyPr/>
        <a:lstStyle/>
        <a:p>
          <a:endParaRPr lang="en-US"/>
        </a:p>
      </dgm:t>
    </dgm:pt>
    <dgm:pt modelId="{663D315E-C62D-4753-B866-A572B197347D}" type="sibTrans" cxnId="{0C9D87BE-7ED7-4673-B714-153EC3AF083A}">
      <dgm:prSet/>
      <dgm:spPr/>
      <dgm:t>
        <a:bodyPr/>
        <a:lstStyle/>
        <a:p>
          <a:endParaRPr lang="en-US"/>
        </a:p>
      </dgm:t>
    </dgm:pt>
    <dgm:pt modelId="{AFC840B2-041C-4D5E-9033-C1BBDC976BBC}">
      <dgm:prSet custT="1"/>
      <dgm:spPr/>
      <dgm:t>
        <a:bodyPr/>
        <a:lstStyle/>
        <a:p>
          <a:r>
            <a:rPr lang="en-IN" sz="1600" dirty="0"/>
            <a:t>Through rigorous customer requirement analysis and design optimization, DMADV prevents defects rather than fixing them post-production.</a:t>
          </a:r>
          <a:endParaRPr lang="en-US" sz="1600" dirty="0"/>
        </a:p>
      </dgm:t>
    </dgm:pt>
    <dgm:pt modelId="{75926458-6A08-45DD-8BCD-CB431E77288A}" type="parTrans" cxnId="{1947C909-706B-42B0-A0A1-5A80324C4781}">
      <dgm:prSet/>
      <dgm:spPr/>
      <dgm:t>
        <a:bodyPr/>
        <a:lstStyle/>
        <a:p>
          <a:endParaRPr lang="en-US"/>
        </a:p>
      </dgm:t>
    </dgm:pt>
    <dgm:pt modelId="{AB8EB7DA-64DA-40CF-9D62-FCFC0FF3D4F6}" type="sibTrans" cxnId="{1947C909-706B-42B0-A0A1-5A80324C4781}">
      <dgm:prSet/>
      <dgm:spPr/>
      <dgm:t>
        <a:bodyPr/>
        <a:lstStyle/>
        <a:p>
          <a:endParaRPr lang="en-US"/>
        </a:p>
      </dgm:t>
    </dgm:pt>
    <dgm:pt modelId="{A81EA2B9-60ED-4133-B1FA-8DAFD42BE9F5}">
      <dgm:prSet custT="1"/>
      <dgm:spPr/>
      <dgm:t>
        <a:bodyPr/>
        <a:lstStyle/>
        <a:p>
          <a:r>
            <a:rPr lang="en-IN" sz="1600" b="1"/>
            <a:t>Use Case:</a:t>
          </a:r>
          <a:r>
            <a:rPr lang="en-IN" sz="1600"/>
            <a:t> Designing new products/processes to meet Six Sigma quality levels from inception.</a:t>
          </a:r>
          <a:endParaRPr lang="en-US" sz="1600"/>
        </a:p>
      </dgm:t>
    </dgm:pt>
    <dgm:pt modelId="{BA892C4B-DB28-4BEF-B8C2-7CBAFBFA0548}" type="parTrans" cxnId="{BF04B5BD-2139-42A5-B2A0-646948E0C175}">
      <dgm:prSet/>
      <dgm:spPr/>
      <dgm:t>
        <a:bodyPr/>
        <a:lstStyle/>
        <a:p>
          <a:endParaRPr lang="en-US"/>
        </a:p>
      </dgm:t>
    </dgm:pt>
    <dgm:pt modelId="{7FD2977D-DF3B-473A-868D-8682169C8525}" type="sibTrans" cxnId="{BF04B5BD-2139-42A5-B2A0-646948E0C175}">
      <dgm:prSet/>
      <dgm:spPr/>
      <dgm:t>
        <a:bodyPr/>
        <a:lstStyle/>
        <a:p>
          <a:endParaRPr lang="en-US"/>
        </a:p>
      </dgm:t>
    </dgm:pt>
    <dgm:pt modelId="{9B510D4E-91C4-4D68-90C3-AA111431C2CE}">
      <dgm:prSet custT="1"/>
      <dgm:spPr/>
      <dgm:t>
        <a:bodyPr/>
        <a:lstStyle/>
        <a:p>
          <a:r>
            <a:rPr lang="en-IN" sz="1600" b="1" dirty="0"/>
            <a:t>Example:</a:t>
          </a:r>
          <a:r>
            <a:rPr lang="en-IN" sz="1600" dirty="0"/>
            <a:t> Developing new pharmaceutical packaging line designed to achieve more than 3.4 defects per million from day one.</a:t>
          </a:r>
          <a:endParaRPr lang="en-US" sz="1600" dirty="0"/>
        </a:p>
      </dgm:t>
    </dgm:pt>
    <dgm:pt modelId="{7E90CD95-B60A-4871-BC76-566DC7D4E3AB}" type="parTrans" cxnId="{774FD510-EF50-48B2-A89C-339CC4299754}">
      <dgm:prSet/>
      <dgm:spPr/>
      <dgm:t>
        <a:bodyPr/>
        <a:lstStyle/>
        <a:p>
          <a:endParaRPr lang="en-US"/>
        </a:p>
      </dgm:t>
    </dgm:pt>
    <dgm:pt modelId="{32A32FB4-4FCB-4A41-9A15-39F223F92090}" type="sibTrans" cxnId="{774FD510-EF50-48B2-A89C-339CC4299754}">
      <dgm:prSet/>
      <dgm:spPr/>
      <dgm:t>
        <a:bodyPr/>
        <a:lstStyle/>
        <a:p>
          <a:endParaRPr lang="en-US"/>
        </a:p>
      </dgm:t>
    </dgm:pt>
    <dgm:pt modelId="{74A70E16-7072-4336-AAB6-DD80D87BC2DA}" type="pres">
      <dgm:prSet presAssocID="{9C491EF5-B01C-4BF2-8C42-2CB1E594D8A9}" presName="vert0" presStyleCnt="0">
        <dgm:presLayoutVars>
          <dgm:dir/>
          <dgm:animOne val="branch"/>
          <dgm:animLvl val="lvl"/>
        </dgm:presLayoutVars>
      </dgm:prSet>
      <dgm:spPr/>
    </dgm:pt>
    <dgm:pt modelId="{99D113A5-31E8-4A7B-935A-BA88E48AA60B}" type="pres">
      <dgm:prSet presAssocID="{76BE9C82-3719-44ED-B1D2-E19CD5B1A2C1}" presName="thickLine" presStyleLbl="alignNode1" presStyleIdx="0" presStyleCnt="4"/>
      <dgm:spPr/>
    </dgm:pt>
    <dgm:pt modelId="{847152CA-6808-40DB-A7F3-71F4B03ACEF2}" type="pres">
      <dgm:prSet presAssocID="{76BE9C82-3719-44ED-B1D2-E19CD5B1A2C1}" presName="horz1" presStyleCnt="0"/>
      <dgm:spPr/>
    </dgm:pt>
    <dgm:pt modelId="{A68E098F-7F3B-4CB0-8B30-45A925F93831}" type="pres">
      <dgm:prSet presAssocID="{76BE9C82-3719-44ED-B1D2-E19CD5B1A2C1}" presName="tx1" presStyleLbl="revTx" presStyleIdx="0" presStyleCnt="4"/>
      <dgm:spPr/>
    </dgm:pt>
    <dgm:pt modelId="{9A1FAE0B-DBD6-47BD-B59B-DA9891587317}" type="pres">
      <dgm:prSet presAssocID="{76BE9C82-3719-44ED-B1D2-E19CD5B1A2C1}" presName="vert1" presStyleCnt="0"/>
      <dgm:spPr/>
    </dgm:pt>
    <dgm:pt modelId="{40B1E697-288E-4083-8C2D-7683BB291A85}" type="pres">
      <dgm:prSet presAssocID="{AFC840B2-041C-4D5E-9033-C1BBDC976BBC}" presName="thickLine" presStyleLbl="alignNode1" presStyleIdx="1" presStyleCnt="4"/>
      <dgm:spPr/>
    </dgm:pt>
    <dgm:pt modelId="{42028619-6C1F-4D3B-A810-653456260B95}" type="pres">
      <dgm:prSet presAssocID="{AFC840B2-041C-4D5E-9033-C1BBDC976BBC}" presName="horz1" presStyleCnt="0"/>
      <dgm:spPr/>
    </dgm:pt>
    <dgm:pt modelId="{51650B59-9528-49FA-9E86-3966891F41C6}" type="pres">
      <dgm:prSet presAssocID="{AFC840B2-041C-4D5E-9033-C1BBDC976BBC}" presName="tx1" presStyleLbl="revTx" presStyleIdx="1" presStyleCnt="4"/>
      <dgm:spPr/>
    </dgm:pt>
    <dgm:pt modelId="{2E6C7A82-FEA0-431E-A398-B959365C71E0}" type="pres">
      <dgm:prSet presAssocID="{AFC840B2-041C-4D5E-9033-C1BBDC976BBC}" presName="vert1" presStyleCnt="0"/>
      <dgm:spPr/>
    </dgm:pt>
    <dgm:pt modelId="{7A70AB1F-7515-4219-9247-61319B731EA4}" type="pres">
      <dgm:prSet presAssocID="{A81EA2B9-60ED-4133-B1FA-8DAFD42BE9F5}" presName="thickLine" presStyleLbl="alignNode1" presStyleIdx="2" presStyleCnt="4"/>
      <dgm:spPr/>
    </dgm:pt>
    <dgm:pt modelId="{4E04AF2E-2482-439B-BC46-007187EB5428}" type="pres">
      <dgm:prSet presAssocID="{A81EA2B9-60ED-4133-B1FA-8DAFD42BE9F5}" presName="horz1" presStyleCnt="0"/>
      <dgm:spPr/>
    </dgm:pt>
    <dgm:pt modelId="{551E8D0E-AC75-4E5E-89E0-E868AA2DF8A5}" type="pres">
      <dgm:prSet presAssocID="{A81EA2B9-60ED-4133-B1FA-8DAFD42BE9F5}" presName="tx1" presStyleLbl="revTx" presStyleIdx="2" presStyleCnt="4"/>
      <dgm:spPr/>
    </dgm:pt>
    <dgm:pt modelId="{5FBA72AA-7102-417E-8D89-F2CA1180A6CF}" type="pres">
      <dgm:prSet presAssocID="{A81EA2B9-60ED-4133-B1FA-8DAFD42BE9F5}" presName="vert1" presStyleCnt="0"/>
      <dgm:spPr/>
    </dgm:pt>
    <dgm:pt modelId="{579B20AC-CB87-49B0-857D-AFA1F739E1F7}" type="pres">
      <dgm:prSet presAssocID="{9B510D4E-91C4-4D68-90C3-AA111431C2CE}" presName="thickLine" presStyleLbl="alignNode1" presStyleIdx="3" presStyleCnt="4"/>
      <dgm:spPr/>
    </dgm:pt>
    <dgm:pt modelId="{AFE25B2C-94A3-4E96-B184-4A32D87E1A6F}" type="pres">
      <dgm:prSet presAssocID="{9B510D4E-91C4-4D68-90C3-AA111431C2CE}" presName="horz1" presStyleCnt="0"/>
      <dgm:spPr/>
    </dgm:pt>
    <dgm:pt modelId="{D8D03C97-E461-4445-99CE-2C025BC1C80A}" type="pres">
      <dgm:prSet presAssocID="{9B510D4E-91C4-4D68-90C3-AA111431C2CE}" presName="tx1" presStyleLbl="revTx" presStyleIdx="3" presStyleCnt="4"/>
      <dgm:spPr/>
    </dgm:pt>
    <dgm:pt modelId="{6317C0C8-8710-429D-86FA-69BCB9F6ED4F}" type="pres">
      <dgm:prSet presAssocID="{9B510D4E-91C4-4D68-90C3-AA111431C2CE}" presName="vert1" presStyleCnt="0"/>
      <dgm:spPr/>
    </dgm:pt>
  </dgm:ptLst>
  <dgm:cxnLst>
    <dgm:cxn modelId="{1947C909-706B-42B0-A0A1-5A80324C4781}" srcId="{9C491EF5-B01C-4BF2-8C42-2CB1E594D8A9}" destId="{AFC840B2-041C-4D5E-9033-C1BBDC976BBC}" srcOrd="1" destOrd="0" parTransId="{75926458-6A08-45DD-8BCD-CB431E77288A}" sibTransId="{AB8EB7DA-64DA-40CF-9D62-FCFC0FF3D4F6}"/>
    <dgm:cxn modelId="{774FD510-EF50-48B2-A89C-339CC4299754}" srcId="{9C491EF5-B01C-4BF2-8C42-2CB1E594D8A9}" destId="{9B510D4E-91C4-4D68-90C3-AA111431C2CE}" srcOrd="3" destOrd="0" parTransId="{7E90CD95-B60A-4871-BC76-566DC7D4E3AB}" sibTransId="{32A32FB4-4FCB-4A41-9A15-39F223F92090}"/>
    <dgm:cxn modelId="{CA99AC6E-7DAB-40A3-933A-DA2DE7FD6D2E}" type="presOf" srcId="{76BE9C82-3719-44ED-B1D2-E19CD5B1A2C1}" destId="{A68E098F-7F3B-4CB0-8B30-45A925F93831}" srcOrd="0" destOrd="0" presId="urn:microsoft.com/office/officeart/2008/layout/LinedList"/>
    <dgm:cxn modelId="{26C5BB7C-74BD-43E9-A846-0385BDFFD498}" type="presOf" srcId="{9C491EF5-B01C-4BF2-8C42-2CB1E594D8A9}" destId="{74A70E16-7072-4336-AAB6-DD80D87BC2DA}" srcOrd="0" destOrd="0" presId="urn:microsoft.com/office/officeart/2008/layout/LinedList"/>
    <dgm:cxn modelId="{BF04B5BD-2139-42A5-B2A0-646948E0C175}" srcId="{9C491EF5-B01C-4BF2-8C42-2CB1E594D8A9}" destId="{A81EA2B9-60ED-4133-B1FA-8DAFD42BE9F5}" srcOrd="2" destOrd="0" parTransId="{BA892C4B-DB28-4BEF-B8C2-7CBAFBFA0548}" sibTransId="{7FD2977D-DF3B-473A-868D-8682169C8525}"/>
    <dgm:cxn modelId="{0C9D87BE-7ED7-4673-B714-153EC3AF083A}" srcId="{9C491EF5-B01C-4BF2-8C42-2CB1E594D8A9}" destId="{76BE9C82-3719-44ED-B1D2-E19CD5B1A2C1}" srcOrd="0" destOrd="0" parTransId="{128EC4ED-47A8-4ADA-BAD8-608E1022248A}" sibTransId="{663D315E-C62D-4753-B866-A572B197347D}"/>
    <dgm:cxn modelId="{12F51AE5-E7D8-4169-8BFB-8DD78DD1E810}" type="presOf" srcId="{A81EA2B9-60ED-4133-B1FA-8DAFD42BE9F5}" destId="{551E8D0E-AC75-4E5E-89E0-E868AA2DF8A5}" srcOrd="0" destOrd="0" presId="urn:microsoft.com/office/officeart/2008/layout/LinedList"/>
    <dgm:cxn modelId="{611F65EB-3A45-43EB-A973-ECDEBD1BDEE2}" type="presOf" srcId="{9B510D4E-91C4-4D68-90C3-AA111431C2CE}" destId="{D8D03C97-E461-4445-99CE-2C025BC1C80A}" srcOrd="0" destOrd="0" presId="urn:microsoft.com/office/officeart/2008/layout/LinedList"/>
    <dgm:cxn modelId="{EB2D65EF-A5DF-4622-8AE7-2A1B9C420210}" type="presOf" srcId="{AFC840B2-041C-4D5E-9033-C1BBDC976BBC}" destId="{51650B59-9528-49FA-9E86-3966891F41C6}" srcOrd="0" destOrd="0" presId="urn:microsoft.com/office/officeart/2008/layout/LinedList"/>
    <dgm:cxn modelId="{284F5EAD-1823-40A0-81FB-F02AB0B8B340}" type="presParOf" srcId="{74A70E16-7072-4336-AAB6-DD80D87BC2DA}" destId="{99D113A5-31E8-4A7B-935A-BA88E48AA60B}" srcOrd="0" destOrd="0" presId="urn:microsoft.com/office/officeart/2008/layout/LinedList"/>
    <dgm:cxn modelId="{7D31A9AA-25C5-46D5-8CA2-20295ADD8ECD}" type="presParOf" srcId="{74A70E16-7072-4336-AAB6-DD80D87BC2DA}" destId="{847152CA-6808-40DB-A7F3-71F4B03ACEF2}" srcOrd="1" destOrd="0" presId="urn:microsoft.com/office/officeart/2008/layout/LinedList"/>
    <dgm:cxn modelId="{05F9BE2E-2ED0-4AD9-B65C-19AB73E8A789}" type="presParOf" srcId="{847152CA-6808-40DB-A7F3-71F4B03ACEF2}" destId="{A68E098F-7F3B-4CB0-8B30-45A925F93831}" srcOrd="0" destOrd="0" presId="urn:microsoft.com/office/officeart/2008/layout/LinedList"/>
    <dgm:cxn modelId="{7015EAD7-7237-4C6D-B7EB-9543954C917B}" type="presParOf" srcId="{847152CA-6808-40DB-A7F3-71F4B03ACEF2}" destId="{9A1FAE0B-DBD6-47BD-B59B-DA9891587317}" srcOrd="1" destOrd="0" presId="urn:microsoft.com/office/officeart/2008/layout/LinedList"/>
    <dgm:cxn modelId="{ABAA1B0C-7288-4C3F-BD39-C5E78AB3F3D6}" type="presParOf" srcId="{74A70E16-7072-4336-AAB6-DD80D87BC2DA}" destId="{40B1E697-288E-4083-8C2D-7683BB291A85}" srcOrd="2" destOrd="0" presId="urn:microsoft.com/office/officeart/2008/layout/LinedList"/>
    <dgm:cxn modelId="{C71250D8-F07B-4A92-BA55-36A53E55BE77}" type="presParOf" srcId="{74A70E16-7072-4336-AAB6-DD80D87BC2DA}" destId="{42028619-6C1F-4D3B-A810-653456260B95}" srcOrd="3" destOrd="0" presId="urn:microsoft.com/office/officeart/2008/layout/LinedList"/>
    <dgm:cxn modelId="{A300A6E0-A159-48C8-A78F-8E4B619541BB}" type="presParOf" srcId="{42028619-6C1F-4D3B-A810-653456260B95}" destId="{51650B59-9528-49FA-9E86-3966891F41C6}" srcOrd="0" destOrd="0" presId="urn:microsoft.com/office/officeart/2008/layout/LinedList"/>
    <dgm:cxn modelId="{2DB7F1F0-44F5-466E-86FC-5B02C40840C5}" type="presParOf" srcId="{42028619-6C1F-4D3B-A810-653456260B95}" destId="{2E6C7A82-FEA0-431E-A398-B959365C71E0}" srcOrd="1" destOrd="0" presId="urn:microsoft.com/office/officeart/2008/layout/LinedList"/>
    <dgm:cxn modelId="{FECEA4DD-DA30-4682-AD4E-B17A98C3D481}" type="presParOf" srcId="{74A70E16-7072-4336-AAB6-DD80D87BC2DA}" destId="{7A70AB1F-7515-4219-9247-61319B731EA4}" srcOrd="4" destOrd="0" presId="urn:microsoft.com/office/officeart/2008/layout/LinedList"/>
    <dgm:cxn modelId="{F679943C-5DD6-48D6-854B-2F753F0B087D}" type="presParOf" srcId="{74A70E16-7072-4336-AAB6-DD80D87BC2DA}" destId="{4E04AF2E-2482-439B-BC46-007187EB5428}" srcOrd="5" destOrd="0" presId="urn:microsoft.com/office/officeart/2008/layout/LinedList"/>
    <dgm:cxn modelId="{30B52BDC-6BBE-46F7-A5EC-0C8F774352EF}" type="presParOf" srcId="{4E04AF2E-2482-439B-BC46-007187EB5428}" destId="{551E8D0E-AC75-4E5E-89E0-E868AA2DF8A5}" srcOrd="0" destOrd="0" presId="urn:microsoft.com/office/officeart/2008/layout/LinedList"/>
    <dgm:cxn modelId="{31CBC1A6-7741-4B5C-B486-3A8905FA1299}" type="presParOf" srcId="{4E04AF2E-2482-439B-BC46-007187EB5428}" destId="{5FBA72AA-7102-417E-8D89-F2CA1180A6CF}" srcOrd="1" destOrd="0" presId="urn:microsoft.com/office/officeart/2008/layout/LinedList"/>
    <dgm:cxn modelId="{663BC5D3-D1E7-4F09-B836-85A2EBC4E5E8}" type="presParOf" srcId="{74A70E16-7072-4336-AAB6-DD80D87BC2DA}" destId="{579B20AC-CB87-49B0-857D-AFA1F739E1F7}" srcOrd="6" destOrd="0" presId="urn:microsoft.com/office/officeart/2008/layout/LinedList"/>
    <dgm:cxn modelId="{3F09B428-844F-4487-BE61-805093958310}" type="presParOf" srcId="{74A70E16-7072-4336-AAB6-DD80D87BC2DA}" destId="{AFE25B2C-94A3-4E96-B184-4A32D87E1A6F}" srcOrd="7" destOrd="0" presId="urn:microsoft.com/office/officeart/2008/layout/LinedList"/>
    <dgm:cxn modelId="{09EE34F0-0BBC-4521-B857-1916D0C3B459}" type="presParOf" srcId="{AFE25B2C-94A3-4E96-B184-4A32D87E1A6F}" destId="{D8D03C97-E461-4445-99CE-2C025BC1C80A}" srcOrd="0" destOrd="0" presId="urn:microsoft.com/office/officeart/2008/layout/LinedList"/>
    <dgm:cxn modelId="{602ADF0B-5F6B-43C4-A953-B80454E5AA82}" type="presParOf" srcId="{AFE25B2C-94A3-4E96-B184-4A32D87E1A6F}" destId="{6317C0C8-8710-429D-86FA-69BCB9F6ED4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BD4D99CE-A556-4DA3-8C47-BC4F537966A7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CAA75C2-5034-4D4D-8009-F7903D6567C8}">
      <dgm:prSet/>
      <dgm:spPr/>
      <dgm:t>
        <a:bodyPr/>
        <a:lstStyle/>
        <a:p>
          <a:r>
            <a:rPr lang="en-US" dirty="0"/>
            <a:t>MISTAKE PROOFING (POKA-YOKE)</a:t>
          </a:r>
        </a:p>
      </dgm:t>
    </dgm:pt>
    <dgm:pt modelId="{8A4C0C65-94C6-4BEE-8053-A658156DDC34}" type="parTrans" cxnId="{B3EF7D26-68F8-448D-AB65-B45F35740A24}">
      <dgm:prSet/>
      <dgm:spPr/>
      <dgm:t>
        <a:bodyPr/>
        <a:lstStyle/>
        <a:p>
          <a:endParaRPr lang="en-US"/>
        </a:p>
      </dgm:t>
    </dgm:pt>
    <dgm:pt modelId="{9FBF9BD2-EAD1-4B5E-855B-B54C4FE15E08}" type="sibTrans" cxnId="{B3EF7D26-68F8-448D-AB65-B45F35740A24}">
      <dgm:prSet/>
      <dgm:spPr/>
      <dgm:t>
        <a:bodyPr/>
        <a:lstStyle/>
        <a:p>
          <a:endParaRPr lang="en-US"/>
        </a:p>
      </dgm:t>
    </dgm:pt>
    <dgm:pt modelId="{346911FF-FA85-4BFD-8856-2904674BC6E9}">
      <dgm:prSet/>
      <dgm:spPr/>
      <dgm:t>
        <a:bodyPr/>
        <a:lstStyle/>
        <a:p>
          <a:r>
            <a:rPr lang="en-IN" b="1"/>
            <a:t>Use Case:</a:t>
          </a:r>
          <a:r>
            <a:rPr lang="en-IN"/>
            <a:t> Designing processes/products that make errors impossible or immediately detectable.</a:t>
          </a:r>
          <a:endParaRPr lang="en-US"/>
        </a:p>
      </dgm:t>
    </dgm:pt>
    <dgm:pt modelId="{35AA00CF-0B0E-41D7-8EE4-51237CB24005}" type="parTrans" cxnId="{0EB237DE-18DE-4500-9A1C-493AF2CF2EF7}">
      <dgm:prSet/>
      <dgm:spPr/>
      <dgm:t>
        <a:bodyPr/>
        <a:lstStyle/>
        <a:p>
          <a:endParaRPr lang="en-US"/>
        </a:p>
      </dgm:t>
    </dgm:pt>
    <dgm:pt modelId="{846DD472-EB6F-4DE8-A3AE-4B2C8E204FF2}" type="sibTrans" cxnId="{0EB237DE-18DE-4500-9A1C-493AF2CF2EF7}">
      <dgm:prSet/>
      <dgm:spPr/>
      <dgm:t>
        <a:bodyPr/>
        <a:lstStyle/>
        <a:p>
          <a:endParaRPr lang="en-US"/>
        </a:p>
      </dgm:t>
    </dgm:pt>
    <dgm:pt modelId="{4B6D6372-02D0-4EAC-A540-9B8E77CAD452}">
      <dgm:prSet/>
      <dgm:spPr/>
      <dgm:t>
        <a:bodyPr/>
        <a:lstStyle/>
        <a:p>
          <a:r>
            <a:rPr lang="en-IN" dirty="0"/>
            <a:t>Poka-Yoke eliminates defects by making errors physically impossible or immediately visible. </a:t>
          </a:r>
          <a:endParaRPr lang="en-US" dirty="0"/>
        </a:p>
      </dgm:t>
    </dgm:pt>
    <dgm:pt modelId="{F517A64E-0CA8-4AF8-8254-0E1E74A35579}" type="parTrans" cxnId="{2DFBF737-A769-4D21-BBB0-1EAFD2E696C9}">
      <dgm:prSet/>
      <dgm:spPr/>
      <dgm:t>
        <a:bodyPr/>
        <a:lstStyle/>
        <a:p>
          <a:endParaRPr lang="en-US"/>
        </a:p>
      </dgm:t>
    </dgm:pt>
    <dgm:pt modelId="{FD78CE49-FF52-44ED-BCC7-2F8491A65B27}" type="sibTrans" cxnId="{2DFBF737-A769-4D21-BBB0-1EAFD2E696C9}">
      <dgm:prSet/>
      <dgm:spPr/>
      <dgm:t>
        <a:bodyPr/>
        <a:lstStyle/>
        <a:p>
          <a:endParaRPr lang="en-US"/>
        </a:p>
      </dgm:t>
    </dgm:pt>
    <dgm:pt modelId="{303806DA-710C-4D02-ABEF-047E1E2D9CD5}">
      <dgm:prSet/>
      <dgm:spPr/>
      <dgm:t>
        <a:bodyPr/>
        <a:lstStyle/>
        <a:p>
          <a:r>
            <a:rPr lang="en-IN"/>
            <a:t>Through clever design of fixtures, sensors, and guides, processes become self-correcting, achieving zero-defect production without relying on human vigilance.</a:t>
          </a:r>
          <a:endParaRPr lang="en-US"/>
        </a:p>
      </dgm:t>
    </dgm:pt>
    <dgm:pt modelId="{899CC1F2-60FB-438A-9BBF-7CAA0A08DB53}" type="parTrans" cxnId="{DB5DDCD2-3A50-42F3-897E-F1683F031B8F}">
      <dgm:prSet/>
      <dgm:spPr/>
      <dgm:t>
        <a:bodyPr/>
        <a:lstStyle/>
        <a:p>
          <a:endParaRPr lang="en-US"/>
        </a:p>
      </dgm:t>
    </dgm:pt>
    <dgm:pt modelId="{C66EA7EA-9E00-4834-82E7-0496678A62DE}" type="sibTrans" cxnId="{DB5DDCD2-3A50-42F3-897E-F1683F031B8F}">
      <dgm:prSet/>
      <dgm:spPr/>
      <dgm:t>
        <a:bodyPr/>
        <a:lstStyle/>
        <a:p>
          <a:endParaRPr lang="en-US"/>
        </a:p>
      </dgm:t>
    </dgm:pt>
    <dgm:pt modelId="{8A49A99A-4EA1-44E0-83CC-F2123BBD2860}" type="pres">
      <dgm:prSet presAssocID="{BD4D99CE-A556-4DA3-8C47-BC4F537966A7}" presName="Name0" presStyleCnt="0">
        <dgm:presLayoutVars>
          <dgm:dir/>
          <dgm:animLvl val="lvl"/>
          <dgm:resizeHandles val="exact"/>
        </dgm:presLayoutVars>
      </dgm:prSet>
      <dgm:spPr/>
    </dgm:pt>
    <dgm:pt modelId="{7B39E417-DD3C-42FF-98EB-923F0B73B107}" type="pres">
      <dgm:prSet presAssocID="{0CAA75C2-5034-4D4D-8009-F7903D6567C8}" presName="composite" presStyleCnt="0"/>
      <dgm:spPr/>
    </dgm:pt>
    <dgm:pt modelId="{D1AA45C8-45BD-49FA-B0AF-CD351FCAD9CF}" type="pres">
      <dgm:prSet presAssocID="{0CAA75C2-5034-4D4D-8009-F7903D6567C8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35C09D9D-2DBA-462D-AEA9-F73BE78BC7C8}" type="pres">
      <dgm:prSet presAssocID="{0CAA75C2-5034-4D4D-8009-F7903D6567C8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B3EF7D26-68F8-448D-AB65-B45F35740A24}" srcId="{BD4D99CE-A556-4DA3-8C47-BC4F537966A7}" destId="{0CAA75C2-5034-4D4D-8009-F7903D6567C8}" srcOrd="0" destOrd="0" parTransId="{8A4C0C65-94C6-4BEE-8053-A658156DDC34}" sibTransId="{9FBF9BD2-EAD1-4B5E-855B-B54C4FE15E08}"/>
    <dgm:cxn modelId="{B7FE6129-E2B3-4EA0-969E-DB8A2E09BA63}" type="presOf" srcId="{BD4D99CE-A556-4DA3-8C47-BC4F537966A7}" destId="{8A49A99A-4EA1-44E0-83CC-F2123BBD2860}" srcOrd="0" destOrd="0" presId="urn:microsoft.com/office/officeart/2005/8/layout/hList1"/>
    <dgm:cxn modelId="{2DFBF737-A769-4D21-BBB0-1EAFD2E696C9}" srcId="{0CAA75C2-5034-4D4D-8009-F7903D6567C8}" destId="{4B6D6372-02D0-4EAC-A540-9B8E77CAD452}" srcOrd="1" destOrd="0" parTransId="{F517A64E-0CA8-4AF8-8254-0E1E74A35579}" sibTransId="{FD78CE49-FF52-44ED-BCC7-2F8491A65B27}"/>
    <dgm:cxn modelId="{E2340D70-D446-4C16-AC9A-D9AE3999A02C}" type="presOf" srcId="{4B6D6372-02D0-4EAC-A540-9B8E77CAD452}" destId="{35C09D9D-2DBA-462D-AEA9-F73BE78BC7C8}" srcOrd="0" destOrd="1" presId="urn:microsoft.com/office/officeart/2005/8/layout/hList1"/>
    <dgm:cxn modelId="{44E2B072-C5E4-45C7-99B4-28D45B52A7D9}" type="presOf" srcId="{0CAA75C2-5034-4D4D-8009-F7903D6567C8}" destId="{D1AA45C8-45BD-49FA-B0AF-CD351FCAD9CF}" srcOrd="0" destOrd="0" presId="urn:microsoft.com/office/officeart/2005/8/layout/hList1"/>
    <dgm:cxn modelId="{DB5DDCD2-3A50-42F3-897E-F1683F031B8F}" srcId="{0CAA75C2-5034-4D4D-8009-F7903D6567C8}" destId="{303806DA-710C-4D02-ABEF-047E1E2D9CD5}" srcOrd="2" destOrd="0" parTransId="{899CC1F2-60FB-438A-9BBF-7CAA0A08DB53}" sibTransId="{C66EA7EA-9E00-4834-82E7-0496678A62DE}"/>
    <dgm:cxn modelId="{865B91D8-CCF1-46E9-8141-DB0BBFA65106}" type="presOf" srcId="{303806DA-710C-4D02-ABEF-047E1E2D9CD5}" destId="{35C09D9D-2DBA-462D-AEA9-F73BE78BC7C8}" srcOrd="0" destOrd="2" presId="urn:microsoft.com/office/officeart/2005/8/layout/hList1"/>
    <dgm:cxn modelId="{0EB237DE-18DE-4500-9A1C-493AF2CF2EF7}" srcId="{0CAA75C2-5034-4D4D-8009-F7903D6567C8}" destId="{346911FF-FA85-4BFD-8856-2904674BC6E9}" srcOrd="0" destOrd="0" parTransId="{35AA00CF-0B0E-41D7-8EE4-51237CB24005}" sibTransId="{846DD472-EB6F-4DE8-A3AE-4B2C8E204FF2}"/>
    <dgm:cxn modelId="{A23B95E4-2564-4CAC-B24A-07055D356CDB}" type="presOf" srcId="{346911FF-FA85-4BFD-8856-2904674BC6E9}" destId="{35C09D9D-2DBA-462D-AEA9-F73BE78BC7C8}" srcOrd="0" destOrd="0" presId="urn:microsoft.com/office/officeart/2005/8/layout/hList1"/>
    <dgm:cxn modelId="{8401DBF2-F7E1-4DE8-AA60-5B38C36B482C}" type="presParOf" srcId="{8A49A99A-4EA1-44E0-83CC-F2123BBD2860}" destId="{7B39E417-DD3C-42FF-98EB-923F0B73B107}" srcOrd="0" destOrd="0" presId="urn:microsoft.com/office/officeart/2005/8/layout/hList1"/>
    <dgm:cxn modelId="{7C975D0F-FEB2-4204-BF15-28048E04E7F0}" type="presParOf" srcId="{7B39E417-DD3C-42FF-98EB-923F0B73B107}" destId="{D1AA45C8-45BD-49FA-B0AF-CD351FCAD9CF}" srcOrd="0" destOrd="0" presId="urn:microsoft.com/office/officeart/2005/8/layout/hList1"/>
    <dgm:cxn modelId="{7C519245-D79B-47E4-9257-133762B5FCDA}" type="presParOf" srcId="{7B39E417-DD3C-42FF-98EB-923F0B73B107}" destId="{35C09D9D-2DBA-462D-AEA9-F73BE78BC7C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5686FEB-58E7-43DE-B88C-0A26E6D81744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9EA5AA57-FAD0-478E-8511-F1DA5AA80FD9}">
      <dgm:prSet/>
      <dgm:spPr/>
      <dgm:t>
        <a:bodyPr/>
        <a:lstStyle/>
        <a:p>
          <a:r>
            <a:rPr lang="en-US" dirty="0"/>
            <a:t>KAIZEN</a:t>
          </a:r>
        </a:p>
      </dgm:t>
    </dgm:pt>
    <dgm:pt modelId="{BB412324-F976-4015-AAF9-4F8C9A53781E}" type="parTrans" cxnId="{5977E098-8158-401E-9C84-46AFDCC0FD0E}">
      <dgm:prSet/>
      <dgm:spPr/>
      <dgm:t>
        <a:bodyPr/>
        <a:lstStyle/>
        <a:p>
          <a:endParaRPr lang="en-US"/>
        </a:p>
      </dgm:t>
    </dgm:pt>
    <dgm:pt modelId="{9CA6F8EC-6786-4C16-80B1-CF6E98E1BD4D}" type="sibTrans" cxnId="{5977E098-8158-401E-9C84-46AFDCC0FD0E}">
      <dgm:prSet/>
      <dgm:spPr/>
      <dgm:t>
        <a:bodyPr/>
        <a:lstStyle/>
        <a:p>
          <a:endParaRPr lang="en-US"/>
        </a:p>
      </dgm:t>
    </dgm:pt>
    <dgm:pt modelId="{ED5CD272-D2DD-4C32-9B77-0C194A027F2A}">
      <dgm:prSet/>
      <dgm:spPr/>
      <dgm:t>
        <a:bodyPr/>
        <a:lstStyle/>
        <a:p>
          <a:r>
            <a:rPr lang="en-IN" b="1" dirty="0"/>
            <a:t>Use Case:</a:t>
          </a:r>
          <a:r>
            <a:rPr lang="en-IN" dirty="0"/>
            <a:t> Engaging all employees in identifying and implementing small, incremental improvements daily.</a:t>
          </a:r>
          <a:endParaRPr lang="en-US" dirty="0"/>
        </a:p>
      </dgm:t>
    </dgm:pt>
    <dgm:pt modelId="{4DE07AF1-80FE-4FC4-A5D4-6F49A8231B00}" type="parTrans" cxnId="{B5F7A8F2-EAEA-4AD6-BD9E-BFF5A515A10D}">
      <dgm:prSet/>
      <dgm:spPr/>
      <dgm:t>
        <a:bodyPr/>
        <a:lstStyle/>
        <a:p>
          <a:endParaRPr lang="en-US"/>
        </a:p>
      </dgm:t>
    </dgm:pt>
    <dgm:pt modelId="{7663652F-230C-442A-A42A-E39EF21D2CB1}" type="sibTrans" cxnId="{B5F7A8F2-EAEA-4AD6-BD9E-BFF5A515A10D}">
      <dgm:prSet/>
      <dgm:spPr/>
      <dgm:t>
        <a:bodyPr/>
        <a:lstStyle/>
        <a:p>
          <a:endParaRPr lang="en-US"/>
        </a:p>
      </dgm:t>
    </dgm:pt>
    <dgm:pt modelId="{99AAB888-8D1D-412B-88DF-FCA23CB3DA64}">
      <dgm:prSet/>
      <dgm:spPr/>
      <dgm:t>
        <a:bodyPr/>
        <a:lstStyle/>
        <a:p>
          <a:r>
            <a:rPr lang="en-IN"/>
            <a:t>Kaizen philosophy empowers every employee to contribute continuous small improvements.</a:t>
          </a:r>
          <a:endParaRPr lang="en-US"/>
        </a:p>
      </dgm:t>
    </dgm:pt>
    <dgm:pt modelId="{0CD242C4-AE09-4522-9CED-B088B9A3EDFB}" type="parTrans" cxnId="{17797518-2E25-4251-B24C-F91BD89AC3BF}">
      <dgm:prSet/>
      <dgm:spPr/>
      <dgm:t>
        <a:bodyPr/>
        <a:lstStyle/>
        <a:p>
          <a:endParaRPr lang="en-US"/>
        </a:p>
      </dgm:t>
    </dgm:pt>
    <dgm:pt modelId="{A8CE248D-FEA2-456C-A039-A671DFFD5B1B}" type="sibTrans" cxnId="{17797518-2E25-4251-B24C-F91BD89AC3BF}">
      <dgm:prSet/>
      <dgm:spPr/>
      <dgm:t>
        <a:bodyPr/>
        <a:lstStyle/>
        <a:p>
          <a:endParaRPr lang="en-US"/>
        </a:p>
      </dgm:t>
    </dgm:pt>
    <dgm:pt modelId="{DD64B1DF-E0BA-40F9-BB01-2C18B1946F3F}">
      <dgm:prSet/>
      <dgm:spPr/>
      <dgm:t>
        <a:bodyPr/>
        <a:lstStyle/>
        <a:p>
          <a:r>
            <a:rPr lang="en-IN" dirty="0"/>
            <a:t>These incremental changes compound into transformational results, creating culture where excellence becomes daily habit rather than periodic initiative.</a:t>
          </a:r>
          <a:endParaRPr lang="en-US" dirty="0"/>
        </a:p>
      </dgm:t>
    </dgm:pt>
    <dgm:pt modelId="{C61CAE95-1755-4687-80CA-6DD7F56DE320}" type="parTrans" cxnId="{F4C003A1-A082-40F9-89E1-BC719E0D4CFD}">
      <dgm:prSet/>
      <dgm:spPr/>
      <dgm:t>
        <a:bodyPr/>
        <a:lstStyle/>
        <a:p>
          <a:endParaRPr lang="en-US"/>
        </a:p>
      </dgm:t>
    </dgm:pt>
    <dgm:pt modelId="{BC2D866C-D582-49AB-ABD2-964000F74D39}" type="sibTrans" cxnId="{F4C003A1-A082-40F9-89E1-BC719E0D4CFD}">
      <dgm:prSet/>
      <dgm:spPr/>
      <dgm:t>
        <a:bodyPr/>
        <a:lstStyle/>
        <a:p>
          <a:endParaRPr lang="en-US"/>
        </a:p>
      </dgm:t>
    </dgm:pt>
    <dgm:pt modelId="{F27D5471-FDBD-44EB-B270-6DA7AA1E9BEA}" type="pres">
      <dgm:prSet presAssocID="{65686FEB-58E7-43DE-B88C-0A26E6D81744}" presName="Name0" presStyleCnt="0">
        <dgm:presLayoutVars>
          <dgm:dir/>
          <dgm:animLvl val="lvl"/>
          <dgm:resizeHandles val="exact"/>
        </dgm:presLayoutVars>
      </dgm:prSet>
      <dgm:spPr/>
    </dgm:pt>
    <dgm:pt modelId="{05156336-6D7F-4ABC-9F91-3B0FB0C26EE2}" type="pres">
      <dgm:prSet presAssocID="{9EA5AA57-FAD0-478E-8511-F1DA5AA80FD9}" presName="composite" presStyleCnt="0"/>
      <dgm:spPr/>
    </dgm:pt>
    <dgm:pt modelId="{98D4685A-394F-4D8E-9CBB-D20841614357}" type="pres">
      <dgm:prSet presAssocID="{9EA5AA57-FAD0-478E-8511-F1DA5AA80FD9}" presName="parTx" presStyleLbl="alignNode1" presStyleIdx="0" presStyleCnt="1" custLinFactNeighborX="70" custLinFactNeighborY="-11024">
        <dgm:presLayoutVars>
          <dgm:chMax val="0"/>
          <dgm:chPref val="0"/>
          <dgm:bulletEnabled val="1"/>
        </dgm:presLayoutVars>
      </dgm:prSet>
      <dgm:spPr/>
    </dgm:pt>
    <dgm:pt modelId="{33D6BA69-7204-49C0-A189-AE5284DC179E}" type="pres">
      <dgm:prSet presAssocID="{9EA5AA57-FAD0-478E-8511-F1DA5AA80FD9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7ADFC90B-A2DC-42D5-B896-EAAB03512DC0}" type="presOf" srcId="{ED5CD272-D2DD-4C32-9B77-0C194A027F2A}" destId="{33D6BA69-7204-49C0-A189-AE5284DC179E}" srcOrd="0" destOrd="0" presId="urn:microsoft.com/office/officeart/2005/8/layout/hList1"/>
    <dgm:cxn modelId="{DE537B0E-6D51-4DC5-B952-4EA0F805C234}" type="presOf" srcId="{9EA5AA57-FAD0-478E-8511-F1DA5AA80FD9}" destId="{98D4685A-394F-4D8E-9CBB-D20841614357}" srcOrd="0" destOrd="0" presId="urn:microsoft.com/office/officeart/2005/8/layout/hList1"/>
    <dgm:cxn modelId="{17797518-2E25-4251-B24C-F91BD89AC3BF}" srcId="{9EA5AA57-FAD0-478E-8511-F1DA5AA80FD9}" destId="{99AAB888-8D1D-412B-88DF-FCA23CB3DA64}" srcOrd="1" destOrd="0" parTransId="{0CD242C4-AE09-4522-9CED-B088B9A3EDFB}" sibTransId="{A8CE248D-FEA2-456C-A039-A671DFFD5B1B}"/>
    <dgm:cxn modelId="{AF69021C-AEFF-4C82-A72C-F78CE311370F}" type="presOf" srcId="{99AAB888-8D1D-412B-88DF-FCA23CB3DA64}" destId="{33D6BA69-7204-49C0-A189-AE5284DC179E}" srcOrd="0" destOrd="1" presId="urn:microsoft.com/office/officeart/2005/8/layout/hList1"/>
    <dgm:cxn modelId="{7123E232-1D3C-4091-9F76-8691BB7905EC}" type="presOf" srcId="{65686FEB-58E7-43DE-B88C-0A26E6D81744}" destId="{F27D5471-FDBD-44EB-B270-6DA7AA1E9BEA}" srcOrd="0" destOrd="0" presId="urn:microsoft.com/office/officeart/2005/8/layout/hList1"/>
    <dgm:cxn modelId="{1D887550-A7D1-4760-89B7-328A17C05944}" type="presOf" srcId="{DD64B1DF-E0BA-40F9-BB01-2C18B1946F3F}" destId="{33D6BA69-7204-49C0-A189-AE5284DC179E}" srcOrd="0" destOrd="2" presId="urn:microsoft.com/office/officeart/2005/8/layout/hList1"/>
    <dgm:cxn modelId="{5977E098-8158-401E-9C84-46AFDCC0FD0E}" srcId="{65686FEB-58E7-43DE-B88C-0A26E6D81744}" destId="{9EA5AA57-FAD0-478E-8511-F1DA5AA80FD9}" srcOrd="0" destOrd="0" parTransId="{BB412324-F976-4015-AAF9-4F8C9A53781E}" sibTransId="{9CA6F8EC-6786-4C16-80B1-CF6E98E1BD4D}"/>
    <dgm:cxn modelId="{F4C003A1-A082-40F9-89E1-BC719E0D4CFD}" srcId="{9EA5AA57-FAD0-478E-8511-F1DA5AA80FD9}" destId="{DD64B1DF-E0BA-40F9-BB01-2C18B1946F3F}" srcOrd="2" destOrd="0" parTransId="{C61CAE95-1755-4687-80CA-6DD7F56DE320}" sibTransId="{BC2D866C-D582-49AB-ABD2-964000F74D39}"/>
    <dgm:cxn modelId="{B5F7A8F2-EAEA-4AD6-BD9E-BFF5A515A10D}" srcId="{9EA5AA57-FAD0-478E-8511-F1DA5AA80FD9}" destId="{ED5CD272-D2DD-4C32-9B77-0C194A027F2A}" srcOrd="0" destOrd="0" parTransId="{4DE07AF1-80FE-4FC4-A5D4-6F49A8231B00}" sibTransId="{7663652F-230C-442A-A42A-E39EF21D2CB1}"/>
    <dgm:cxn modelId="{82958A3A-4D99-4353-B885-32BDB7496BC4}" type="presParOf" srcId="{F27D5471-FDBD-44EB-B270-6DA7AA1E9BEA}" destId="{05156336-6D7F-4ABC-9F91-3B0FB0C26EE2}" srcOrd="0" destOrd="0" presId="urn:microsoft.com/office/officeart/2005/8/layout/hList1"/>
    <dgm:cxn modelId="{2E7DAC3B-FD2B-49BD-80C2-85329DCCAF41}" type="presParOf" srcId="{05156336-6D7F-4ABC-9F91-3B0FB0C26EE2}" destId="{98D4685A-394F-4D8E-9CBB-D20841614357}" srcOrd="0" destOrd="0" presId="urn:microsoft.com/office/officeart/2005/8/layout/hList1"/>
    <dgm:cxn modelId="{9A286642-3C3D-4344-BA87-D1C11003B695}" type="presParOf" srcId="{05156336-6D7F-4ABC-9F91-3B0FB0C26EE2}" destId="{33D6BA69-7204-49C0-A189-AE5284DC179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871FB95A-FB3E-4A60-B4EB-F79FF57E941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5FE2E9F-418D-4E32-9194-FDDF53848D7E}">
      <dgm:prSet/>
      <dgm:spPr/>
      <dgm:t>
        <a:bodyPr/>
        <a:lstStyle/>
        <a:p>
          <a:r>
            <a:rPr lang="en-US"/>
            <a:t>BRAINSTORMING</a:t>
          </a:r>
        </a:p>
      </dgm:t>
    </dgm:pt>
    <dgm:pt modelId="{2A223BC9-8A40-4292-B340-A8E4E49FF1E8}" type="parTrans" cxnId="{A415BFD5-8AA4-45C0-AEA2-44A7F966DBB4}">
      <dgm:prSet/>
      <dgm:spPr/>
      <dgm:t>
        <a:bodyPr/>
        <a:lstStyle/>
        <a:p>
          <a:endParaRPr lang="en-US"/>
        </a:p>
      </dgm:t>
    </dgm:pt>
    <dgm:pt modelId="{AF3FA248-F68C-4664-9902-EFB391F11F36}" type="sibTrans" cxnId="{A415BFD5-8AA4-45C0-AEA2-44A7F966DBB4}">
      <dgm:prSet/>
      <dgm:spPr/>
      <dgm:t>
        <a:bodyPr/>
        <a:lstStyle/>
        <a:p>
          <a:endParaRPr lang="en-US"/>
        </a:p>
      </dgm:t>
    </dgm:pt>
    <dgm:pt modelId="{E0B2A545-6F23-4A23-AB9E-C326F6E29ED0}">
      <dgm:prSet/>
      <dgm:spPr/>
      <dgm:t>
        <a:bodyPr/>
        <a:lstStyle/>
        <a:p>
          <a:r>
            <a:rPr lang="en-IN" b="1"/>
            <a:t>Use Case:</a:t>
          </a:r>
          <a:r>
            <a:rPr lang="en-IN"/>
            <a:t> Generating creative solutions when traditional approaches fail or innovative breakthroughs needed.</a:t>
          </a:r>
          <a:endParaRPr lang="en-US"/>
        </a:p>
      </dgm:t>
    </dgm:pt>
    <dgm:pt modelId="{3CA7B6E3-94B5-45AC-ADD6-CE42D49A8A3A}" type="parTrans" cxnId="{5F8F3C55-9CCA-4EAE-97AD-C73F5ABB6231}">
      <dgm:prSet/>
      <dgm:spPr/>
      <dgm:t>
        <a:bodyPr/>
        <a:lstStyle/>
        <a:p>
          <a:endParaRPr lang="en-US"/>
        </a:p>
      </dgm:t>
    </dgm:pt>
    <dgm:pt modelId="{2EFEE8F9-F714-440F-8B32-41C67DACC77A}" type="sibTrans" cxnId="{5F8F3C55-9CCA-4EAE-97AD-C73F5ABB6231}">
      <dgm:prSet/>
      <dgm:spPr/>
      <dgm:t>
        <a:bodyPr/>
        <a:lstStyle/>
        <a:p>
          <a:endParaRPr lang="en-US"/>
        </a:p>
      </dgm:t>
    </dgm:pt>
    <dgm:pt modelId="{5677AF88-B1E8-4BFC-ACF4-9AD420D670C7}">
      <dgm:prSet/>
      <dgm:spPr/>
      <dgm:t>
        <a:bodyPr/>
        <a:lstStyle/>
        <a:p>
          <a:r>
            <a:rPr lang="en-IN"/>
            <a:t>Structured brainstorming unleashes collective creativity by suspending judgment and encouraging wild ideas. </a:t>
          </a:r>
          <a:endParaRPr lang="en-US"/>
        </a:p>
      </dgm:t>
    </dgm:pt>
    <dgm:pt modelId="{F8902F20-6E3F-4008-B74C-9D0C54B3A967}" type="parTrans" cxnId="{85E2A801-8437-4AC2-B649-63808CC0D781}">
      <dgm:prSet/>
      <dgm:spPr/>
      <dgm:t>
        <a:bodyPr/>
        <a:lstStyle/>
        <a:p>
          <a:endParaRPr lang="en-US"/>
        </a:p>
      </dgm:t>
    </dgm:pt>
    <dgm:pt modelId="{A091E2EB-6EFE-4583-8EFF-865DB10E7E31}" type="sibTrans" cxnId="{85E2A801-8437-4AC2-B649-63808CC0D781}">
      <dgm:prSet/>
      <dgm:spPr/>
      <dgm:t>
        <a:bodyPr/>
        <a:lstStyle/>
        <a:p>
          <a:endParaRPr lang="en-US"/>
        </a:p>
      </dgm:t>
    </dgm:pt>
    <dgm:pt modelId="{E174D2F1-E23C-4B44-BBC9-77D9E3C1A249}">
      <dgm:prSet/>
      <dgm:spPr/>
      <dgm:t>
        <a:bodyPr/>
        <a:lstStyle/>
        <a:p>
          <a:r>
            <a:rPr lang="en-IN" dirty="0"/>
            <a:t>Through divergent thinking followed by convergent evaluation, teams discover innovative solutions hiding beyond conventional thinking.</a:t>
          </a:r>
          <a:endParaRPr lang="en-US" dirty="0"/>
        </a:p>
      </dgm:t>
    </dgm:pt>
    <dgm:pt modelId="{AEAFBAB8-471B-4BD5-A665-1309307F6FCF}" type="parTrans" cxnId="{E4E0AB55-6A6F-43F2-AF69-26F663094E75}">
      <dgm:prSet/>
      <dgm:spPr/>
      <dgm:t>
        <a:bodyPr/>
        <a:lstStyle/>
        <a:p>
          <a:endParaRPr lang="en-US"/>
        </a:p>
      </dgm:t>
    </dgm:pt>
    <dgm:pt modelId="{2205BD0D-F754-4364-AA3F-D073EE957C1C}" type="sibTrans" cxnId="{E4E0AB55-6A6F-43F2-AF69-26F663094E75}">
      <dgm:prSet/>
      <dgm:spPr/>
      <dgm:t>
        <a:bodyPr/>
        <a:lstStyle/>
        <a:p>
          <a:endParaRPr lang="en-US"/>
        </a:p>
      </dgm:t>
    </dgm:pt>
    <dgm:pt modelId="{EF5A429F-499A-4A1D-B79F-2E391A360FF7}" type="pres">
      <dgm:prSet presAssocID="{871FB95A-FB3E-4A60-B4EB-F79FF57E9415}" presName="Name0" presStyleCnt="0">
        <dgm:presLayoutVars>
          <dgm:dir/>
          <dgm:animLvl val="lvl"/>
          <dgm:resizeHandles val="exact"/>
        </dgm:presLayoutVars>
      </dgm:prSet>
      <dgm:spPr/>
    </dgm:pt>
    <dgm:pt modelId="{D9DFE773-76FA-42E0-9F7B-8A63CDEF135B}" type="pres">
      <dgm:prSet presAssocID="{05FE2E9F-418D-4E32-9194-FDDF53848D7E}" presName="composite" presStyleCnt="0"/>
      <dgm:spPr/>
    </dgm:pt>
    <dgm:pt modelId="{5D7E14CB-9951-4E40-A5A2-2C48D45EA336}" type="pres">
      <dgm:prSet presAssocID="{05FE2E9F-418D-4E32-9194-FDDF53848D7E}" presName="parTx" presStyleLbl="alignNode1" presStyleIdx="0" presStyleCnt="1" custLinFactNeighborX="-29" custLinFactNeighborY="-8268">
        <dgm:presLayoutVars>
          <dgm:chMax val="0"/>
          <dgm:chPref val="0"/>
          <dgm:bulletEnabled val="1"/>
        </dgm:presLayoutVars>
      </dgm:prSet>
      <dgm:spPr/>
    </dgm:pt>
    <dgm:pt modelId="{9233CAC5-AAD0-43C2-AEDB-A85FAF7B33E6}" type="pres">
      <dgm:prSet presAssocID="{05FE2E9F-418D-4E32-9194-FDDF53848D7E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85E2A801-8437-4AC2-B649-63808CC0D781}" srcId="{05FE2E9F-418D-4E32-9194-FDDF53848D7E}" destId="{5677AF88-B1E8-4BFC-ACF4-9AD420D670C7}" srcOrd="1" destOrd="0" parTransId="{F8902F20-6E3F-4008-B74C-9D0C54B3A967}" sibTransId="{A091E2EB-6EFE-4583-8EFF-865DB10E7E31}"/>
    <dgm:cxn modelId="{8B436037-B5D9-4C3B-BAF4-72235AFDAAF4}" type="presOf" srcId="{05FE2E9F-418D-4E32-9194-FDDF53848D7E}" destId="{5D7E14CB-9951-4E40-A5A2-2C48D45EA336}" srcOrd="0" destOrd="0" presId="urn:microsoft.com/office/officeart/2005/8/layout/hList1"/>
    <dgm:cxn modelId="{8F3BB547-F6A2-4D93-AFE6-A685D27E782F}" type="presOf" srcId="{871FB95A-FB3E-4A60-B4EB-F79FF57E9415}" destId="{EF5A429F-499A-4A1D-B79F-2E391A360FF7}" srcOrd="0" destOrd="0" presId="urn:microsoft.com/office/officeart/2005/8/layout/hList1"/>
    <dgm:cxn modelId="{5F8F3C55-9CCA-4EAE-97AD-C73F5ABB6231}" srcId="{05FE2E9F-418D-4E32-9194-FDDF53848D7E}" destId="{E0B2A545-6F23-4A23-AB9E-C326F6E29ED0}" srcOrd="0" destOrd="0" parTransId="{3CA7B6E3-94B5-45AC-ADD6-CE42D49A8A3A}" sibTransId="{2EFEE8F9-F714-440F-8B32-41C67DACC77A}"/>
    <dgm:cxn modelId="{E4E0AB55-6A6F-43F2-AF69-26F663094E75}" srcId="{05FE2E9F-418D-4E32-9194-FDDF53848D7E}" destId="{E174D2F1-E23C-4B44-BBC9-77D9E3C1A249}" srcOrd="2" destOrd="0" parTransId="{AEAFBAB8-471B-4BD5-A665-1309307F6FCF}" sibTransId="{2205BD0D-F754-4364-AA3F-D073EE957C1C}"/>
    <dgm:cxn modelId="{5AF1BD80-A222-4B50-A5E9-52D8AA624AD3}" type="presOf" srcId="{E174D2F1-E23C-4B44-BBC9-77D9E3C1A249}" destId="{9233CAC5-AAD0-43C2-AEDB-A85FAF7B33E6}" srcOrd="0" destOrd="2" presId="urn:microsoft.com/office/officeart/2005/8/layout/hList1"/>
    <dgm:cxn modelId="{20184696-B5A7-4822-AB25-8620CB611DBD}" type="presOf" srcId="{E0B2A545-6F23-4A23-AB9E-C326F6E29ED0}" destId="{9233CAC5-AAD0-43C2-AEDB-A85FAF7B33E6}" srcOrd="0" destOrd="0" presId="urn:microsoft.com/office/officeart/2005/8/layout/hList1"/>
    <dgm:cxn modelId="{9F70E0AE-1DE9-4F20-9151-276BE5AAEAF6}" type="presOf" srcId="{5677AF88-B1E8-4BFC-ACF4-9AD420D670C7}" destId="{9233CAC5-AAD0-43C2-AEDB-A85FAF7B33E6}" srcOrd="0" destOrd="1" presId="urn:microsoft.com/office/officeart/2005/8/layout/hList1"/>
    <dgm:cxn modelId="{A415BFD5-8AA4-45C0-AEA2-44A7F966DBB4}" srcId="{871FB95A-FB3E-4A60-B4EB-F79FF57E9415}" destId="{05FE2E9F-418D-4E32-9194-FDDF53848D7E}" srcOrd="0" destOrd="0" parTransId="{2A223BC9-8A40-4292-B340-A8E4E49FF1E8}" sibTransId="{AF3FA248-F68C-4664-9902-EFB391F11F36}"/>
    <dgm:cxn modelId="{2F6E82EF-1503-4B8F-AE9F-7B516540E50C}" type="presParOf" srcId="{EF5A429F-499A-4A1D-B79F-2E391A360FF7}" destId="{D9DFE773-76FA-42E0-9F7B-8A63CDEF135B}" srcOrd="0" destOrd="0" presId="urn:microsoft.com/office/officeart/2005/8/layout/hList1"/>
    <dgm:cxn modelId="{CD3E1762-FBFD-4CB9-B4FC-EE8DC17444BD}" type="presParOf" srcId="{D9DFE773-76FA-42E0-9F7B-8A63CDEF135B}" destId="{5D7E14CB-9951-4E40-A5A2-2C48D45EA336}" srcOrd="0" destOrd="0" presId="urn:microsoft.com/office/officeart/2005/8/layout/hList1"/>
    <dgm:cxn modelId="{61F1E1A2-9992-48E3-834A-418906EEF192}" type="presParOf" srcId="{D9DFE773-76FA-42E0-9F7B-8A63CDEF135B}" destId="{9233CAC5-AAD0-43C2-AEDB-A85FAF7B33E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AE4BDC84-0108-4360-94B0-3DE287EB7BEC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B94404F1-982E-4249-BCB3-BE287F223FFB}">
      <dgm:prSet/>
      <dgm:spPr/>
      <dgm:t>
        <a:bodyPr/>
        <a:lstStyle/>
        <a:p>
          <a:r>
            <a:rPr lang="en-US"/>
            <a:t>A </a:t>
          </a:r>
          <a:r>
            <a:rPr lang="en-US" b="1"/>
            <a:t>Check Sheet</a:t>
          </a:r>
          <a:r>
            <a:rPr lang="en-US"/>
            <a:t> is a structured tool used to collect and tally data in real time. </a:t>
          </a:r>
        </a:p>
      </dgm:t>
    </dgm:pt>
    <dgm:pt modelId="{B437D999-764D-4B47-BAF4-AE97E1437388}" type="parTrans" cxnId="{90A8B4BD-A2D1-403F-9E04-2908717B41EE}">
      <dgm:prSet/>
      <dgm:spPr/>
      <dgm:t>
        <a:bodyPr/>
        <a:lstStyle/>
        <a:p>
          <a:endParaRPr lang="en-GB"/>
        </a:p>
      </dgm:t>
    </dgm:pt>
    <dgm:pt modelId="{F40F9051-E132-4122-8541-9FE90DEB2D17}" type="sibTrans" cxnId="{90A8B4BD-A2D1-403F-9E04-2908717B41EE}">
      <dgm:prSet/>
      <dgm:spPr/>
      <dgm:t>
        <a:bodyPr/>
        <a:lstStyle/>
        <a:p>
          <a:endParaRPr lang="en-GB"/>
        </a:p>
      </dgm:t>
    </dgm:pt>
    <dgm:pt modelId="{B6A07E4A-5D0C-42B6-BED7-EC3C970F0682}" type="pres">
      <dgm:prSet presAssocID="{AE4BDC84-0108-4360-94B0-3DE287EB7BE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17A804C-D910-45D4-B1C1-57AE49F02808}" type="pres">
      <dgm:prSet presAssocID="{B94404F1-982E-4249-BCB3-BE287F223FFB}" presName="root" presStyleCnt="0"/>
      <dgm:spPr/>
    </dgm:pt>
    <dgm:pt modelId="{A8886C79-4BC3-48DA-BDB2-C768854B95DB}" type="pres">
      <dgm:prSet presAssocID="{B94404F1-982E-4249-BCB3-BE287F223FFB}" presName="rootComposite" presStyleCnt="0"/>
      <dgm:spPr/>
    </dgm:pt>
    <dgm:pt modelId="{1239CC9F-0090-4A5D-AB72-7637B1DD8360}" type="pres">
      <dgm:prSet presAssocID="{B94404F1-982E-4249-BCB3-BE287F223FFB}" presName="rootText" presStyleLbl="node1" presStyleIdx="0" presStyleCnt="1" custLinFactNeighborY="1496"/>
      <dgm:spPr/>
    </dgm:pt>
    <dgm:pt modelId="{DE4B4037-1003-4AED-97F6-C46A7777102A}" type="pres">
      <dgm:prSet presAssocID="{B94404F1-982E-4249-BCB3-BE287F223FFB}" presName="rootConnector" presStyleLbl="node1" presStyleIdx="0" presStyleCnt="1"/>
      <dgm:spPr/>
    </dgm:pt>
    <dgm:pt modelId="{5D30779A-D729-4036-BD90-3DC022AA79EF}" type="pres">
      <dgm:prSet presAssocID="{B94404F1-982E-4249-BCB3-BE287F223FFB}" presName="childShape" presStyleCnt="0"/>
      <dgm:spPr/>
    </dgm:pt>
  </dgm:ptLst>
  <dgm:cxnLst>
    <dgm:cxn modelId="{063F822F-2B50-436C-AB9D-782A8AB577E5}" type="presOf" srcId="{B94404F1-982E-4249-BCB3-BE287F223FFB}" destId="{DE4B4037-1003-4AED-97F6-C46A7777102A}" srcOrd="1" destOrd="0" presId="urn:microsoft.com/office/officeart/2005/8/layout/hierarchy3"/>
    <dgm:cxn modelId="{90A8B4BD-A2D1-403F-9E04-2908717B41EE}" srcId="{AE4BDC84-0108-4360-94B0-3DE287EB7BEC}" destId="{B94404F1-982E-4249-BCB3-BE287F223FFB}" srcOrd="0" destOrd="0" parTransId="{B437D999-764D-4B47-BAF4-AE97E1437388}" sibTransId="{F40F9051-E132-4122-8541-9FE90DEB2D17}"/>
    <dgm:cxn modelId="{F5C577CB-C7A6-44FD-84B4-FFEC3AE87C23}" type="presOf" srcId="{AE4BDC84-0108-4360-94B0-3DE287EB7BEC}" destId="{B6A07E4A-5D0C-42B6-BED7-EC3C970F0682}" srcOrd="0" destOrd="0" presId="urn:microsoft.com/office/officeart/2005/8/layout/hierarchy3"/>
    <dgm:cxn modelId="{E16CDFE5-B293-4148-A973-DA9FE1AB1640}" type="presOf" srcId="{B94404F1-982E-4249-BCB3-BE287F223FFB}" destId="{1239CC9F-0090-4A5D-AB72-7637B1DD8360}" srcOrd="0" destOrd="0" presId="urn:microsoft.com/office/officeart/2005/8/layout/hierarchy3"/>
    <dgm:cxn modelId="{1E83FE20-3D77-40BC-89C7-66C8BE6FA3E9}" type="presParOf" srcId="{B6A07E4A-5D0C-42B6-BED7-EC3C970F0682}" destId="{F17A804C-D910-45D4-B1C1-57AE49F02808}" srcOrd="0" destOrd="0" presId="urn:microsoft.com/office/officeart/2005/8/layout/hierarchy3"/>
    <dgm:cxn modelId="{7B4ECA2E-02BC-47C8-AB01-5A0CD46E885F}" type="presParOf" srcId="{F17A804C-D910-45D4-B1C1-57AE49F02808}" destId="{A8886C79-4BC3-48DA-BDB2-C768854B95DB}" srcOrd="0" destOrd="0" presId="urn:microsoft.com/office/officeart/2005/8/layout/hierarchy3"/>
    <dgm:cxn modelId="{65609636-270C-48F6-9AFC-7EE94EA9AAB6}" type="presParOf" srcId="{A8886C79-4BC3-48DA-BDB2-C768854B95DB}" destId="{1239CC9F-0090-4A5D-AB72-7637B1DD8360}" srcOrd="0" destOrd="0" presId="urn:microsoft.com/office/officeart/2005/8/layout/hierarchy3"/>
    <dgm:cxn modelId="{38152F44-1EC9-4112-BC1B-791269060832}" type="presParOf" srcId="{A8886C79-4BC3-48DA-BDB2-C768854B95DB}" destId="{DE4B4037-1003-4AED-97F6-C46A7777102A}" srcOrd="1" destOrd="0" presId="urn:microsoft.com/office/officeart/2005/8/layout/hierarchy3"/>
    <dgm:cxn modelId="{71148F2E-C3CA-4B7C-93DC-37BB3E3FA14B}" type="presParOf" srcId="{F17A804C-D910-45D4-B1C1-57AE49F02808}" destId="{5D30779A-D729-4036-BD90-3DC022AA79EF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21466815-518A-4833-8816-AA837021BB87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72BC8253-95E4-4CBE-9490-34C73991A0E0}">
      <dgm:prSet/>
      <dgm:spPr/>
      <dgm:t>
        <a:bodyPr/>
        <a:lstStyle/>
        <a:p>
          <a:r>
            <a:rPr lang="en-US"/>
            <a:t>A </a:t>
          </a:r>
          <a:r>
            <a:rPr lang="en-US" b="1"/>
            <a:t>Flow Chart</a:t>
          </a:r>
          <a:r>
            <a:rPr lang="en-US"/>
            <a:t> is a visual tool used to map out the steps of a process or system.  </a:t>
          </a:r>
        </a:p>
      </dgm:t>
    </dgm:pt>
    <dgm:pt modelId="{0B2FAC21-3E85-40C8-9D40-5EBD935CB8DF}" type="parTrans" cxnId="{08EBA188-C13A-4F81-AD42-6005126324E0}">
      <dgm:prSet/>
      <dgm:spPr/>
      <dgm:t>
        <a:bodyPr/>
        <a:lstStyle/>
        <a:p>
          <a:endParaRPr lang="en-GB"/>
        </a:p>
      </dgm:t>
    </dgm:pt>
    <dgm:pt modelId="{DCF81B2E-EF92-4F42-AB00-5C5CAB0CAF64}" type="sibTrans" cxnId="{08EBA188-C13A-4F81-AD42-6005126324E0}">
      <dgm:prSet/>
      <dgm:spPr/>
      <dgm:t>
        <a:bodyPr/>
        <a:lstStyle/>
        <a:p>
          <a:endParaRPr lang="en-GB"/>
        </a:p>
      </dgm:t>
    </dgm:pt>
    <dgm:pt modelId="{0D56645F-20B1-4A23-8DAF-CE9F48A316FE}" type="pres">
      <dgm:prSet presAssocID="{21466815-518A-4833-8816-AA837021BB8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F0E397C-A19B-467A-8714-48931CC6D665}" type="pres">
      <dgm:prSet presAssocID="{72BC8253-95E4-4CBE-9490-34C73991A0E0}" presName="root" presStyleCnt="0"/>
      <dgm:spPr/>
    </dgm:pt>
    <dgm:pt modelId="{59F1AF9E-415C-412A-8B8B-0F44C8FEE90B}" type="pres">
      <dgm:prSet presAssocID="{72BC8253-95E4-4CBE-9490-34C73991A0E0}" presName="rootComposite" presStyleCnt="0"/>
      <dgm:spPr/>
    </dgm:pt>
    <dgm:pt modelId="{D0CEE6EA-902C-4508-8404-5D953A129658}" type="pres">
      <dgm:prSet presAssocID="{72BC8253-95E4-4CBE-9490-34C73991A0E0}" presName="rootText" presStyleLbl="node1" presStyleIdx="0" presStyleCnt="1" custLinFactNeighborY="2916"/>
      <dgm:spPr/>
    </dgm:pt>
    <dgm:pt modelId="{F58B5CD5-E8B5-42A8-B7B9-72703BE9F539}" type="pres">
      <dgm:prSet presAssocID="{72BC8253-95E4-4CBE-9490-34C73991A0E0}" presName="rootConnector" presStyleLbl="node1" presStyleIdx="0" presStyleCnt="1"/>
      <dgm:spPr/>
    </dgm:pt>
    <dgm:pt modelId="{1C060D83-2C0F-4ADE-A75C-19342AA21134}" type="pres">
      <dgm:prSet presAssocID="{72BC8253-95E4-4CBE-9490-34C73991A0E0}" presName="childShape" presStyleCnt="0"/>
      <dgm:spPr/>
    </dgm:pt>
  </dgm:ptLst>
  <dgm:cxnLst>
    <dgm:cxn modelId="{DC7D1764-1B95-464D-ADAF-9C65F7041C5D}" type="presOf" srcId="{72BC8253-95E4-4CBE-9490-34C73991A0E0}" destId="{F58B5CD5-E8B5-42A8-B7B9-72703BE9F539}" srcOrd="1" destOrd="0" presId="urn:microsoft.com/office/officeart/2005/8/layout/hierarchy3"/>
    <dgm:cxn modelId="{FF6C9376-E3FA-47ED-A9F6-738D8E80CFF3}" type="presOf" srcId="{72BC8253-95E4-4CBE-9490-34C73991A0E0}" destId="{D0CEE6EA-902C-4508-8404-5D953A129658}" srcOrd="0" destOrd="0" presId="urn:microsoft.com/office/officeart/2005/8/layout/hierarchy3"/>
    <dgm:cxn modelId="{08EBA188-C13A-4F81-AD42-6005126324E0}" srcId="{21466815-518A-4833-8816-AA837021BB87}" destId="{72BC8253-95E4-4CBE-9490-34C73991A0E0}" srcOrd="0" destOrd="0" parTransId="{0B2FAC21-3E85-40C8-9D40-5EBD935CB8DF}" sibTransId="{DCF81B2E-EF92-4F42-AB00-5C5CAB0CAF64}"/>
    <dgm:cxn modelId="{B06A2AA1-1AD0-4DDC-A61B-77A81D4DAA47}" type="presOf" srcId="{21466815-518A-4833-8816-AA837021BB87}" destId="{0D56645F-20B1-4A23-8DAF-CE9F48A316FE}" srcOrd="0" destOrd="0" presId="urn:microsoft.com/office/officeart/2005/8/layout/hierarchy3"/>
    <dgm:cxn modelId="{E866262E-7969-4FE2-8F50-B6660A4DCAA9}" type="presParOf" srcId="{0D56645F-20B1-4A23-8DAF-CE9F48A316FE}" destId="{7F0E397C-A19B-467A-8714-48931CC6D665}" srcOrd="0" destOrd="0" presId="urn:microsoft.com/office/officeart/2005/8/layout/hierarchy3"/>
    <dgm:cxn modelId="{D54C072A-F05D-4676-8BEF-F8ACD32A41DF}" type="presParOf" srcId="{7F0E397C-A19B-467A-8714-48931CC6D665}" destId="{59F1AF9E-415C-412A-8B8B-0F44C8FEE90B}" srcOrd="0" destOrd="0" presId="urn:microsoft.com/office/officeart/2005/8/layout/hierarchy3"/>
    <dgm:cxn modelId="{38ED1BD0-D924-427D-87F3-D77815B63E6F}" type="presParOf" srcId="{59F1AF9E-415C-412A-8B8B-0F44C8FEE90B}" destId="{D0CEE6EA-902C-4508-8404-5D953A129658}" srcOrd="0" destOrd="0" presId="urn:microsoft.com/office/officeart/2005/8/layout/hierarchy3"/>
    <dgm:cxn modelId="{CD0B823D-F657-4F78-AE90-40BEB2B73F4D}" type="presParOf" srcId="{59F1AF9E-415C-412A-8B8B-0F44C8FEE90B}" destId="{F58B5CD5-E8B5-42A8-B7B9-72703BE9F539}" srcOrd="1" destOrd="0" presId="urn:microsoft.com/office/officeart/2005/8/layout/hierarchy3"/>
    <dgm:cxn modelId="{A78DB218-2713-453A-BF5E-C37608860C83}" type="presParOf" srcId="{7F0E397C-A19B-467A-8714-48931CC6D665}" destId="{1C060D83-2C0F-4ADE-A75C-19342AA21134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B517487B-CC30-4443-807E-CF1DB1E1D2A4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E16C3249-DA3F-4347-A477-AA68734BB2E7}">
      <dgm:prSet/>
      <dgm:spPr/>
      <dgm:t>
        <a:bodyPr/>
        <a:lstStyle/>
        <a:p>
          <a:r>
            <a:rPr lang="en-US"/>
            <a:t>A </a:t>
          </a:r>
          <a:r>
            <a:rPr lang="en-US" b="1"/>
            <a:t>Fishbone Diagram</a:t>
          </a:r>
          <a:r>
            <a:rPr lang="en-US"/>
            <a:t> is a visual tool used to identify root causes of a specific problem. </a:t>
          </a:r>
        </a:p>
      </dgm:t>
    </dgm:pt>
    <dgm:pt modelId="{27A8D1DD-401F-4F82-B7A3-4631C2AA4609}" type="parTrans" cxnId="{AD02A6DB-EACF-4FBB-BCFE-5AA2928ADA92}">
      <dgm:prSet/>
      <dgm:spPr/>
      <dgm:t>
        <a:bodyPr/>
        <a:lstStyle/>
        <a:p>
          <a:endParaRPr lang="en-GB"/>
        </a:p>
      </dgm:t>
    </dgm:pt>
    <dgm:pt modelId="{0520F2E9-EBA1-460F-8130-4C3BD437EC2F}" type="sibTrans" cxnId="{AD02A6DB-EACF-4FBB-BCFE-5AA2928ADA92}">
      <dgm:prSet/>
      <dgm:spPr/>
      <dgm:t>
        <a:bodyPr/>
        <a:lstStyle/>
        <a:p>
          <a:endParaRPr lang="en-GB"/>
        </a:p>
      </dgm:t>
    </dgm:pt>
    <dgm:pt modelId="{CB3B8FC8-299B-4048-AAAA-10FCF2F48D46}" type="pres">
      <dgm:prSet presAssocID="{B517487B-CC30-4443-807E-CF1DB1E1D2A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1929E27-DA63-4944-9924-2BBFCC2C6B90}" type="pres">
      <dgm:prSet presAssocID="{E16C3249-DA3F-4347-A477-AA68734BB2E7}" presName="root" presStyleCnt="0"/>
      <dgm:spPr/>
    </dgm:pt>
    <dgm:pt modelId="{3FA641CE-5DFA-4364-97E6-2526E5E0F3D7}" type="pres">
      <dgm:prSet presAssocID="{E16C3249-DA3F-4347-A477-AA68734BB2E7}" presName="rootComposite" presStyleCnt="0"/>
      <dgm:spPr/>
    </dgm:pt>
    <dgm:pt modelId="{F6FD6CF6-C47C-41C6-9DB2-1A5FE88CFA84}" type="pres">
      <dgm:prSet presAssocID="{E16C3249-DA3F-4347-A477-AA68734BB2E7}" presName="rootText" presStyleLbl="node1" presStyleIdx="0" presStyleCnt="1"/>
      <dgm:spPr/>
    </dgm:pt>
    <dgm:pt modelId="{C44196A8-6A2B-45CE-93DD-052448BC4E80}" type="pres">
      <dgm:prSet presAssocID="{E16C3249-DA3F-4347-A477-AA68734BB2E7}" presName="rootConnector" presStyleLbl="node1" presStyleIdx="0" presStyleCnt="1"/>
      <dgm:spPr/>
    </dgm:pt>
    <dgm:pt modelId="{2507099B-3670-465B-9898-4CF9A31F0071}" type="pres">
      <dgm:prSet presAssocID="{E16C3249-DA3F-4347-A477-AA68734BB2E7}" presName="childShape" presStyleCnt="0"/>
      <dgm:spPr/>
    </dgm:pt>
  </dgm:ptLst>
  <dgm:cxnLst>
    <dgm:cxn modelId="{672C394B-7AD1-4EDD-BBB8-110591368283}" type="presOf" srcId="{B517487B-CC30-4443-807E-CF1DB1E1D2A4}" destId="{CB3B8FC8-299B-4048-AAAA-10FCF2F48D46}" srcOrd="0" destOrd="0" presId="urn:microsoft.com/office/officeart/2005/8/layout/hierarchy3"/>
    <dgm:cxn modelId="{DBE1E7B1-B516-48B7-9180-EB587C596746}" type="presOf" srcId="{E16C3249-DA3F-4347-A477-AA68734BB2E7}" destId="{C44196A8-6A2B-45CE-93DD-052448BC4E80}" srcOrd="1" destOrd="0" presId="urn:microsoft.com/office/officeart/2005/8/layout/hierarchy3"/>
    <dgm:cxn modelId="{0BF9DAD3-24D2-434C-9BD6-EE14E1EF4087}" type="presOf" srcId="{E16C3249-DA3F-4347-A477-AA68734BB2E7}" destId="{F6FD6CF6-C47C-41C6-9DB2-1A5FE88CFA84}" srcOrd="0" destOrd="0" presId="urn:microsoft.com/office/officeart/2005/8/layout/hierarchy3"/>
    <dgm:cxn modelId="{AD02A6DB-EACF-4FBB-BCFE-5AA2928ADA92}" srcId="{B517487B-CC30-4443-807E-CF1DB1E1D2A4}" destId="{E16C3249-DA3F-4347-A477-AA68734BB2E7}" srcOrd="0" destOrd="0" parTransId="{27A8D1DD-401F-4F82-B7A3-4631C2AA4609}" sibTransId="{0520F2E9-EBA1-460F-8130-4C3BD437EC2F}"/>
    <dgm:cxn modelId="{58E24A43-461C-48D1-85DE-5F61EA0B376F}" type="presParOf" srcId="{CB3B8FC8-299B-4048-AAAA-10FCF2F48D46}" destId="{B1929E27-DA63-4944-9924-2BBFCC2C6B90}" srcOrd="0" destOrd="0" presId="urn:microsoft.com/office/officeart/2005/8/layout/hierarchy3"/>
    <dgm:cxn modelId="{037AFE0B-8B9E-48A2-B68E-FEB830A47410}" type="presParOf" srcId="{B1929E27-DA63-4944-9924-2BBFCC2C6B90}" destId="{3FA641CE-5DFA-4364-97E6-2526E5E0F3D7}" srcOrd="0" destOrd="0" presId="urn:microsoft.com/office/officeart/2005/8/layout/hierarchy3"/>
    <dgm:cxn modelId="{F8BB922C-DDA8-4004-9324-5D84EE537B0B}" type="presParOf" srcId="{3FA641CE-5DFA-4364-97E6-2526E5E0F3D7}" destId="{F6FD6CF6-C47C-41C6-9DB2-1A5FE88CFA84}" srcOrd="0" destOrd="0" presId="urn:microsoft.com/office/officeart/2005/8/layout/hierarchy3"/>
    <dgm:cxn modelId="{548B7E37-8F4B-440C-AA7F-546B82034F9A}" type="presParOf" srcId="{3FA641CE-5DFA-4364-97E6-2526E5E0F3D7}" destId="{C44196A8-6A2B-45CE-93DD-052448BC4E80}" srcOrd="1" destOrd="0" presId="urn:microsoft.com/office/officeart/2005/8/layout/hierarchy3"/>
    <dgm:cxn modelId="{76D05CE7-7537-400C-A3F7-BA393EA93DEF}" type="presParOf" srcId="{B1929E27-DA63-4944-9924-2BBFCC2C6B90}" destId="{2507099B-3670-465B-9898-4CF9A31F0071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FE3ED20C-975A-47B7-9FE6-FDF80387BB18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605D06AE-5E9D-4E69-83F6-B265161A5816}">
      <dgm:prSet/>
      <dgm:spPr/>
      <dgm:t>
        <a:bodyPr/>
        <a:lstStyle/>
        <a:p>
          <a:r>
            <a:rPr lang="en-US"/>
            <a:t>A </a:t>
          </a:r>
          <a:r>
            <a:rPr lang="en-US" b="1"/>
            <a:t>Histogram</a:t>
          </a:r>
          <a:r>
            <a:rPr lang="en-US"/>
            <a:t> is a graphical tool used to display the frequency distribution of data.  </a:t>
          </a:r>
        </a:p>
      </dgm:t>
    </dgm:pt>
    <dgm:pt modelId="{83514891-8B4C-4D85-8577-3A6B09D32ABF}" type="parTrans" cxnId="{28B5F79E-BE81-431A-AB42-A6C85C817977}">
      <dgm:prSet/>
      <dgm:spPr/>
      <dgm:t>
        <a:bodyPr/>
        <a:lstStyle/>
        <a:p>
          <a:endParaRPr lang="en-GB"/>
        </a:p>
      </dgm:t>
    </dgm:pt>
    <dgm:pt modelId="{8D0FCFD7-0E5C-44A8-9E84-445BDC605B12}" type="sibTrans" cxnId="{28B5F79E-BE81-431A-AB42-A6C85C817977}">
      <dgm:prSet/>
      <dgm:spPr/>
      <dgm:t>
        <a:bodyPr/>
        <a:lstStyle/>
        <a:p>
          <a:endParaRPr lang="en-GB"/>
        </a:p>
      </dgm:t>
    </dgm:pt>
    <dgm:pt modelId="{53FFAB23-A2D0-4A0B-A9A7-DED454D019DD}" type="pres">
      <dgm:prSet presAssocID="{FE3ED20C-975A-47B7-9FE6-FDF80387BB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35CAB4E-665B-45B3-A088-39FB2F8DDF5E}" type="pres">
      <dgm:prSet presAssocID="{605D06AE-5E9D-4E69-83F6-B265161A5816}" presName="root" presStyleCnt="0"/>
      <dgm:spPr/>
    </dgm:pt>
    <dgm:pt modelId="{91C908A7-EFA8-496C-9AC7-EE3B2F606F5D}" type="pres">
      <dgm:prSet presAssocID="{605D06AE-5E9D-4E69-83F6-B265161A5816}" presName="rootComposite" presStyleCnt="0"/>
      <dgm:spPr/>
    </dgm:pt>
    <dgm:pt modelId="{5AC529F5-EFDC-4C46-BE04-0E4781026279}" type="pres">
      <dgm:prSet presAssocID="{605D06AE-5E9D-4E69-83F6-B265161A5816}" presName="rootText" presStyleLbl="node1" presStyleIdx="0" presStyleCnt="1" custLinFactNeighborX="812" custLinFactNeighborY="3249"/>
      <dgm:spPr/>
    </dgm:pt>
    <dgm:pt modelId="{E56A97AF-5921-4765-A76E-C3E848D35887}" type="pres">
      <dgm:prSet presAssocID="{605D06AE-5E9D-4E69-83F6-B265161A5816}" presName="rootConnector" presStyleLbl="node1" presStyleIdx="0" presStyleCnt="1"/>
      <dgm:spPr/>
    </dgm:pt>
    <dgm:pt modelId="{BA20085A-A73E-4CF5-A14C-4251DF4AA574}" type="pres">
      <dgm:prSet presAssocID="{605D06AE-5E9D-4E69-83F6-B265161A5816}" presName="childShape" presStyleCnt="0"/>
      <dgm:spPr/>
    </dgm:pt>
  </dgm:ptLst>
  <dgm:cxnLst>
    <dgm:cxn modelId="{7920B034-32B8-49E1-B50E-5D7546D8BC95}" type="presOf" srcId="{FE3ED20C-975A-47B7-9FE6-FDF80387BB18}" destId="{53FFAB23-A2D0-4A0B-A9A7-DED454D019DD}" srcOrd="0" destOrd="0" presId="urn:microsoft.com/office/officeart/2005/8/layout/hierarchy3"/>
    <dgm:cxn modelId="{01DCAB64-BD09-4FBE-886C-B6745D5CB1E5}" type="presOf" srcId="{605D06AE-5E9D-4E69-83F6-B265161A5816}" destId="{5AC529F5-EFDC-4C46-BE04-0E4781026279}" srcOrd="0" destOrd="0" presId="urn:microsoft.com/office/officeart/2005/8/layout/hierarchy3"/>
    <dgm:cxn modelId="{28B5F79E-BE81-431A-AB42-A6C85C817977}" srcId="{FE3ED20C-975A-47B7-9FE6-FDF80387BB18}" destId="{605D06AE-5E9D-4E69-83F6-B265161A5816}" srcOrd="0" destOrd="0" parTransId="{83514891-8B4C-4D85-8577-3A6B09D32ABF}" sibTransId="{8D0FCFD7-0E5C-44A8-9E84-445BDC605B12}"/>
    <dgm:cxn modelId="{FD6E9CE7-11CE-49B5-ADE9-1F5C3A0D09A8}" type="presOf" srcId="{605D06AE-5E9D-4E69-83F6-B265161A5816}" destId="{E56A97AF-5921-4765-A76E-C3E848D35887}" srcOrd="1" destOrd="0" presId="urn:microsoft.com/office/officeart/2005/8/layout/hierarchy3"/>
    <dgm:cxn modelId="{26C6ECBC-C9A2-4BB7-B655-245B4D6E0B6D}" type="presParOf" srcId="{53FFAB23-A2D0-4A0B-A9A7-DED454D019DD}" destId="{035CAB4E-665B-45B3-A088-39FB2F8DDF5E}" srcOrd="0" destOrd="0" presId="urn:microsoft.com/office/officeart/2005/8/layout/hierarchy3"/>
    <dgm:cxn modelId="{F1CD534A-A813-4438-B5E7-A98D07A68235}" type="presParOf" srcId="{035CAB4E-665B-45B3-A088-39FB2F8DDF5E}" destId="{91C908A7-EFA8-496C-9AC7-EE3B2F606F5D}" srcOrd="0" destOrd="0" presId="urn:microsoft.com/office/officeart/2005/8/layout/hierarchy3"/>
    <dgm:cxn modelId="{97632B79-346E-41DA-8E55-BE9175260238}" type="presParOf" srcId="{91C908A7-EFA8-496C-9AC7-EE3B2F606F5D}" destId="{5AC529F5-EFDC-4C46-BE04-0E4781026279}" srcOrd="0" destOrd="0" presId="urn:microsoft.com/office/officeart/2005/8/layout/hierarchy3"/>
    <dgm:cxn modelId="{43AE8867-23E0-4966-BEDC-5E46806C2940}" type="presParOf" srcId="{91C908A7-EFA8-496C-9AC7-EE3B2F606F5D}" destId="{E56A97AF-5921-4765-A76E-C3E848D35887}" srcOrd="1" destOrd="0" presId="urn:microsoft.com/office/officeart/2005/8/layout/hierarchy3"/>
    <dgm:cxn modelId="{1B013FCC-03B1-41FA-B144-058E1F93E908}" type="presParOf" srcId="{035CAB4E-665B-45B3-A088-39FB2F8DDF5E}" destId="{BA20085A-A73E-4CF5-A14C-4251DF4AA574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5DFE21E1-F417-45DA-AEA4-D2F952554DD2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71C9DB2C-918D-48B9-B9C9-515AD21182DA}">
      <dgm:prSet/>
      <dgm:spPr/>
      <dgm:t>
        <a:bodyPr/>
        <a:lstStyle/>
        <a:p>
          <a:r>
            <a:rPr lang="en-US"/>
            <a:t>A </a:t>
          </a:r>
          <a:r>
            <a:rPr lang="en-US" b="1"/>
            <a:t>Line Chart </a:t>
          </a:r>
          <a:r>
            <a:rPr lang="en-US"/>
            <a:t>is a visual tool used to display trends or changes over time. </a:t>
          </a:r>
        </a:p>
      </dgm:t>
    </dgm:pt>
    <dgm:pt modelId="{1A467D01-198F-4193-B12D-8D8048E40125}" type="parTrans" cxnId="{ED488F43-F944-4211-91E1-3DF62B835643}">
      <dgm:prSet/>
      <dgm:spPr/>
      <dgm:t>
        <a:bodyPr/>
        <a:lstStyle/>
        <a:p>
          <a:endParaRPr lang="en-GB"/>
        </a:p>
      </dgm:t>
    </dgm:pt>
    <dgm:pt modelId="{311C3694-AFBE-4077-A384-280E889AB5BE}" type="sibTrans" cxnId="{ED488F43-F944-4211-91E1-3DF62B835643}">
      <dgm:prSet/>
      <dgm:spPr/>
      <dgm:t>
        <a:bodyPr/>
        <a:lstStyle/>
        <a:p>
          <a:endParaRPr lang="en-GB"/>
        </a:p>
      </dgm:t>
    </dgm:pt>
    <dgm:pt modelId="{11266965-119B-45E0-8AAC-AFD11446ABC5}" type="pres">
      <dgm:prSet presAssocID="{5DFE21E1-F417-45DA-AEA4-D2F952554DD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719EA39-02E3-44C2-A756-F44C721F6D42}" type="pres">
      <dgm:prSet presAssocID="{71C9DB2C-918D-48B9-B9C9-515AD21182DA}" presName="root" presStyleCnt="0"/>
      <dgm:spPr/>
    </dgm:pt>
    <dgm:pt modelId="{B3639F5D-6ABA-409F-BCC1-45902F3CCAC1}" type="pres">
      <dgm:prSet presAssocID="{71C9DB2C-918D-48B9-B9C9-515AD21182DA}" presName="rootComposite" presStyleCnt="0"/>
      <dgm:spPr/>
    </dgm:pt>
    <dgm:pt modelId="{708BFD64-C995-48C6-8996-EC6EF9ECAC1A}" type="pres">
      <dgm:prSet presAssocID="{71C9DB2C-918D-48B9-B9C9-515AD21182DA}" presName="rootText" presStyleLbl="node1" presStyleIdx="0" presStyleCnt="1"/>
      <dgm:spPr/>
    </dgm:pt>
    <dgm:pt modelId="{290630E7-DFA1-44CF-9D9E-198F3400C261}" type="pres">
      <dgm:prSet presAssocID="{71C9DB2C-918D-48B9-B9C9-515AD21182DA}" presName="rootConnector" presStyleLbl="node1" presStyleIdx="0" presStyleCnt="1"/>
      <dgm:spPr/>
    </dgm:pt>
    <dgm:pt modelId="{26DEA02D-E013-471C-8040-980C5F78C13D}" type="pres">
      <dgm:prSet presAssocID="{71C9DB2C-918D-48B9-B9C9-515AD21182DA}" presName="childShape" presStyleCnt="0"/>
      <dgm:spPr/>
    </dgm:pt>
  </dgm:ptLst>
  <dgm:cxnLst>
    <dgm:cxn modelId="{ED488F43-F944-4211-91E1-3DF62B835643}" srcId="{5DFE21E1-F417-45DA-AEA4-D2F952554DD2}" destId="{71C9DB2C-918D-48B9-B9C9-515AD21182DA}" srcOrd="0" destOrd="0" parTransId="{1A467D01-198F-4193-B12D-8D8048E40125}" sibTransId="{311C3694-AFBE-4077-A384-280E889AB5BE}"/>
    <dgm:cxn modelId="{B0E5D355-3E29-44AE-9CF0-6E49B4C81A7C}" type="presOf" srcId="{5DFE21E1-F417-45DA-AEA4-D2F952554DD2}" destId="{11266965-119B-45E0-8AAC-AFD11446ABC5}" srcOrd="0" destOrd="0" presId="urn:microsoft.com/office/officeart/2005/8/layout/hierarchy3"/>
    <dgm:cxn modelId="{FB27C687-54D4-40A9-AAC7-3E5B83725C8A}" type="presOf" srcId="{71C9DB2C-918D-48B9-B9C9-515AD21182DA}" destId="{708BFD64-C995-48C6-8996-EC6EF9ECAC1A}" srcOrd="0" destOrd="0" presId="urn:microsoft.com/office/officeart/2005/8/layout/hierarchy3"/>
    <dgm:cxn modelId="{CD331B97-47C9-40C6-B956-AE3FCD966005}" type="presOf" srcId="{71C9DB2C-918D-48B9-B9C9-515AD21182DA}" destId="{290630E7-DFA1-44CF-9D9E-198F3400C261}" srcOrd="1" destOrd="0" presId="urn:microsoft.com/office/officeart/2005/8/layout/hierarchy3"/>
    <dgm:cxn modelId="{20ACD644-510A-4F8C-B4D4-C10A9E4C8BE6}" type="presParOf" srcId="{11266965-119B-45E0-8AAC-AFD11446ABC5}" destId="{9719EA39-02E3-44C2-A756-F44C721F6D42}" srcOrd="0" destOrd="0" presId="urn:microsoft.com/office/officeart/2005/8/layout/hierarchy3"/>
    <dgm:cxn modelId="{547DB260-8DC3-4551-954B-BAD12464CD93}" type="presParOf" srcId="{9719EA39-02E3-44C2-A756-F44C721F6D42}" destId="{B3639F5D-6ABA-409F-BCC1-45902F3CCAC1}" srcOrd="0" destOrd="0" presId="urn:microsoft.com/office/officeart/2005/8/layout/hierarchy3"/>
    <dgm:cxn modelId="{2CA79FC2-925B-4E53-8CCF-AF964060351E}" type="presParOf" srcId="{B3639F5D-6ABA-409F-BCC1-45902F3CCAC1}" destId="{708BFD64-C995-48C6-8996-EC6EF9ECAC1A}" srcOrd="0" destOrd="0" presId="urn:microsoft.com/office/officeart/2005/8/layout/hierarchy3"/>
    <dgm:cxn modelId="{8A910D34-04DF-4C51-BF6F-5B4BD0886A89}" type="presParOf" srcId="{B3639F5D-6ABA-409F-BCC1-45902F3CCAC1}" destId="{290630E7-DFA1-44CF-9D9E-198F3400C261}" srcOrd="1" destOrd="0" presId="urn:microsoft.com/office/officeart/2005/8/layout/hierarchy3"/>
    <dgm:cxn modelId="{B0CED4DF-5324-464F-9FFF-39F98FFF978F}" type="presParOf" srcId="{9719EA39-02E3-44C2-A756-F44C721F6D42}" destId="{26DEA02D-E013-471C-8040-980C5F78C13D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ADBFDB-C52D-4EAB-BA7B-ED5FBD06D9A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CBF8C8C-37B5-43EE-81CE-B5486D139F8F}">
      <dgm:prSet/>
      <dgm:spPr/>
      <dgm:t>
        <a:bodyPr/>
        <a:lstStyle/>
        <a:p>
          <a:r>
            <a:rPr lang="en-US" b="0" i="0" dirty="0"/>
            <a:t>Five Whys (5W)</a:t>
          </a:r>
          <a:endParaRPr lang="en-US" dirty="0"/>
        </a:p>
      </dgm:t>
    </dgm:pt>
    <dgm:pt modelId="{E29B06A6-45E2-4DA1-AA77-BF37D6C50BB0}" type="parTrans" cxnId="{E7CF00F1-37FA-488F-9672-33EA0F51F6E9}">
      <dgm:prSet/>
      <dgm:spPr/>
      <dgm:t>
        <a:bodyPr/>
        <a:lstStyle/>
        <a:p>
          <a:endParaRPr lang="en-GB"/>
        </a:p>
      </dgm:t>
    </dgm:pt>
    <dgm:pt modelId="{814F02DB-A1B5-4F36-BDB1-FC3335891337}" type="sibTrans" cxnId="{E7CF00F1-37FA-488F-9672-33EA0F51F6E9}">
      <dgm:prSet/>
      <dgm:spPr/>
      <dgm:t>
        <a:bodyPr/>
        <a:lstStyle/>
        <a:p>
          <a:endParaRPr lang="en-GB"/>
        </a:p>
      </dgm:t>
    </dgm:pt>
    <dgm:pt modelId="{EDE06642-36C4-478E-946F-041BD10BBF96}">
      <dgm:prSet/>
      <dgm:spPr/>
      <dgm:t>
        <a:bodyPr/>
        <a:lstStyle/>
        <a:p>
          <a:r>
            <a:rPr lang="en-US" b="0" i="0"/>
            <a:t>Fishbone diagram</a:t>
          </a:r>
          <a:endParaRPr lang="en-US"/>
        </a:p>
      </dgm:t>
    </dgm:pt>
    <dgm:pt modelId="{EC2E0F4A-3356-4FC4-9139-38FD68A9055F}" type="parTrans" cxnId="{4571393F-07C7-4AD2-AE22-58B4A64BCA8B}">
      <dgm:prSet/>
      <dgm:spPr/>
      <dgm:t>
        <a:bodyPr/>
        <a:lstStyle/>
        <a:p>
          <a:endParaRPr lang="en-GB"/>
        </a:p>
      </dgm:t>
    </dgm:pt>
    <dgm:pt modelId="{452957CC-ADAA-4C04-B703-B108C9D52D78}" type="sibTrans" cxnId="{4571393F-07C7-4AD2-AE22-58B4A64BCA8B}">
      <dgm:prSet/>
      <dgm:spPr/>
      <dgm:t>
        <a:bodyPr/>
        <a:lstStyle/>
        <a:p>
          <a:endParaRPr lang="en-GB"/>
        </a:p>
      </dgm:t>
    </dgm:pt>
    <dgm:pt modelId="{F6547E4B-C3D8-4DC0-AFAE-623D351703DC}">
      <dgm:prSet/>
      <dgm:spPr/>
      <dgm:t>
        <a:bodyPr/>
        <a:lstStyle/>
        <a:p>
          <a:r>
            <a:rPr lang="en-US" b="0" i="0"/>
            <a:t>Eight disciplines (8D) model</a:t>
          </a:r>
          <a:endParaRPr lang="en-US"/>
        </a:p>
      </dgm:t>
    </dgm:pt>
    <dgm:pt modelId="{BAD52464-845A-47C4-8911-8E86B4161FBA}" type="parTrans" cxnId="{6904F9BC-8D39-4513-AEBE-CC471BA641EF}">
      <dgm:prSet/>
      <dgm:spPr/>
      <dgm:t>
        <a:bodyPr/>
        <a:lstStyle/>
        <a:p>
          <a:endParaRPr lang="en-GB"/>
        </a:p>
      </dgm:t>
    </dgm:pt>
    <dgm:pt modelId="{6248FC80-CA3E-4C3F-A1B1-D31D37B4FE50}" type="sibTrans" cxnId="{6904F9BC-8D39-4513-AEBE-CC471BA641EF}">
      <dgm:prSet/>
      <dgm:spPr/>
      <dgm:t>
        <a:bodyPr/>
        <a:lstStyle/>
        <a:p>
          <a:endParaRPr lang="en-GB"/>
        </a:p>
      </dgm:t>
    </dgm:pt>
    <dgm:pt modelId="{8DEF6AC0-F084-4BFE-89D0-56DFCEDB548F}">
      <dgm:prSet/>
      <dgm:spPr/>
      <dgm:t>
        <a:bodyPr/>
        <a:lstStyle/>
        <a:p>
          <a:r>
            <a:rPr lang="en-US" b="0" i="0"/>
            <a:t>Pareto chart</a:t>
          </a:r>
          <a:endParaRPr lang="en-US"/>
        </a:p>
      </dgm:t>
    </dgm:pt>
    <dgm:pt modelId="{3853FE55-C7B0-4848-8273-F8D10F772C38}" type="parTrans" cxnId="{51439994-F883-41B8-B0E4-D1CF16B6F27B}">
      <dgm:prSet/>
      <dgm:spPr/>
      <dgm:t>
        <a:bodyPr/>
        <a:lstStyle/>
        <a:p>
          <a:endParaRPr lang="en-GB"/>
        </a:p>
      </dgm:t>
    </dgm:pt>
    <dgm:pt modelId="{0E879CE2-D27C-47FC-A637-89D13C1021DE}" type="sibTrans" cxnId="{51439994-F883-41B8-B0E4-D1CF16B6F27B}">
      <dgm:prSet/>
      <dgm:spPr/>
      <dgm:t>
        <a:bodyPr/>
        <a:lstStyle/>
        <a:p>
          <a:endParaRPr lang="en-GB"/>
        </a:p>
      </dgm:t>
    </dgm:pt>
    <dgm:pt modelId="{99CD9A27-0A54-4AD8-9DD7-0F59257440B0}">
      <dgm:prSet/>
      <dgm:spPr/>
      <dgm:t>
        <a:bodyPr/>
        <a:lstStyle/>
        <a:p>
          <a:r>
            <a:rPr lang="en-US" b="0" i="0"/>
            <a:t>DMAIC</a:t>
          </a:r>
          <a:endParaRPr lang="en-US"/>
        </a:p>
      </dgm:t>
    </dgm:pt>
    <dgm:pt modelId="{C695EDD7-A5F2-4ED2-8798-9C6FEBD45CB0}" type="sibTrans" cxnId="{23B9C5D1-594C-45F8-AA58-3D30AEB6D6B3}">
      <dgm:prSet/>
      <dgm:spPr/>
      <dgm:t>
        <a:bodyPr/>
        <a:lstStyle/>
        <a:p>
          <a:endParaRPr lang="en-GB"/>
        </a:p>
      </dgm:t>
    </dgm:pt>
    <dgm:pt modelId="{A1DA4E4B-748F-4B1F-8190-D3EE55057046}" type="parTrans" cxnId="{23B9C5D1-594C-45F8-AA58-3D30AEB6D6B3}">
      <dgm:prSet/>
      <dgm:spPr/>
      <dgm:t>
        <a:bodyPr/>
        <a:lstStyle/>
        <a:p>
          <a:endParaRPr lang="en-GB"/>
        </a:p>
      </dgm:t>
    </dgm:pt>
    <dgm:pt modelId="{2A7A39BC-2526-4C5D-8FB3-55792C38004B}" type="pres">
      <dgm:prSet presAssocID="{6AADBFDB-C52D-4EAB-BA7B-ED5FBD06D9A5}" presName="linear" presStyleCnt="0">
        <dgm:presLayoutVars>
          <dgm:animLvl val="lvl"/>
          <dgm:resizeHandles val="exact"/>
        </dgm:presLayoutVars>
      </dgm:prSet>
      <dgm:spPr/>
    </dgm:pt>
    <dgm:pt modelId="{E94E51FC-AB9D-4A71-9A52-8561E24C03D2}" type="pres">
      <dgm:prSet presAssocID="{ACBF8C8C-37B5-43EE-81CE-B5486D139F8F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B6523A50-ED61-4042-AE57-B8D19CF94CEF}" type="pres">
      <dgm:prSet presAssocID="{814F02DB-A1B5-4F36-BDB1-FC3335891337}" presName="spacer" presStyleCnt="0"/>
      <dgm:spPr/>
    </dgm:pt>
    <dgm:pt modelId="{EE95237D-19AE-429C-B3DE-C8E438C276B1}" type="pres">
      <dgm:prSet presAssocID="{EDE06642-36C4-478E-946F-041BD10BBF96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1DE28438-1938-43EF-9452-8302FDE128EC}" type="pres">
      <dgm:prSet presAssocID="{452957CC-ADAA-4C04-B703-B108C9D52D78}" presName="spacer" presStyleCnt="0"/>
      <dgm:spPr/>
    </dgm:pt>
    <dgm:pt modelId="{4CDF72F4-B4E3-4927-B16D-95D29DC93DDF}" type="pres">
      <dgm:prSet presAssocID="{F6547E4B-C3D8-4DC0-AFAE-623D351703DC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2C11B633-CC62-405A-9DE6-2C1F735EF5FB}" type="pres">
      <dgm:prSet presAssocID="{6248FC80-CA3E-4C3F-A1B1-D31D37B4FE50}" presName="spacer" presStyleCnt="0"/>
      <dgm:spPr/>
    </dgm:pt>
    <dgm:pt modelId="{B6435B07-5514-46DB-BEF2-5D30915F4519}" type="pres">
      <dgm:prSet presAssocID="{99CD9A27-0A54-4AD8-9DD7-0F59257440B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FE8BB1DE-1F27-4921-B4FE-E462EB80C76C}" type="pres">
      <dgm:prSet presAssocID="{C695EDD7-A5F2-4ED2-8798-9C6FEBD45CB0}" presName="spacer" presStyleCnt="0"/>
      <dgm:spPr/>
    </dgm:pt>
    <dgm:pt modelId="{9E89C688-8A20-4682-8CE6-7CC5D00FFF49}" type="pres">
      <dgm:prSet presAssocID="{8DEF6AC0-F084-4BFE-89D0-56DFCEDB548F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4571393F-07C7-4AD2-AE22-58B4A64BCA8B}" srcId="{6AADBFDB-C52D-4EAB-BA7B-ED5FBD06D9A5}" destId="{EDE06642-36C4-478E-946F-041BD10BBF96}" srcOrd="1" destOrd="0" parTransId="{EC2E0F4A-3356-4FC4-9139-38FD68A9055F}" sibTransId="{452957CC-ADAA-4C04-B703-B108C9D52D78}"/>
    <dgm:cxn modelId="{A2CBFA5B-EE19-49ED-A86A-62E902C30330}" type="presOf" srcId="{EDE06642-36C4-478E-946F-041BD10BBF96}" destId="{EE95237D-19AE-429C-B3DE-C8E438C276B1}" srcOrd="0" destOrd="0" presId="urn:microsoft.com/office/officeart/2005/8/layout/vList2"/>
    <dgm:cxn modelId="{FA69E54A-7776-401B-AE5F-1D77DD18BC88}" type="presOf" srcId="{6AADBFDB-C52D-4EAB-BA7B-ED5FBD06D9A5}" destId="{2A7A39BC-2526-4C5D-8FB3-55792C38004B}" srcOrd="0" destOrd="0" presId="urn:microsoft.com/office/officeart/2005/8/layout/vList2"/>
    <dgm:cxn modelId="{606CC35A-2468-4E5D-A8C3-4A62B59A5996}" type="presOf" srcId="{99CD9A27-0A54-4AD8-9DD7-0F59257440B0}" destId="{B6435B07-5514-46DB-BEF2-5D30915F4519}" srcOrd="0" destOrd="0" presId="urn:microsoft.com/office/officeart/2005/8/layout/vList2"/>
    <dgm:cxn modelId="{51439994-F883-41B8-B0E4-D1CF16B6F27B}" srcId="{6AADBFDB-C52D-4EAB-BA7B-ED5FBD06D9A5}" destId="{8DEF6AC0-F084-4BFE-89D0-56DFCEDB548F}" srcOrd="4" destOrd="0" parTransId="{3853FE55-C7B0-4848-8273-F8D10F772C38}" sibTransId="{0E879CE2-D27C-47FC-A637-89D13C1021DE}"/>
    <dgm:cxn modelId="{4522639B-699F-424E-BFA3-4BE7B1A8AA69}" type="presOf" srcId="{ACBF8C8C-37B5-43EE-81CE-B5486D139F8F}" destId="{E94E51FC-AB9D-4A71-9A52-8561E24C03D2}" srcOrd="0" destOrd="0" presId="urn:microsoft.com/office/officeart/2005/8/layout/vList2"/>
    <dgm:cxn modelId="{6904F9BC-8D39-4513-AEBE-CC471BA641EF}" srcId="{6AADBFDB-C52D-4EAB-BA7B-ED5FBD06D9A5}" destId="{F6547E4B-C3D8-4DC0-AFAE-623D351703DC}" srcOrd="2" destOrd="0" parTransId="{BAD52464-845A-47C4-8911-8E86B4161FBA}" sibTransId="{6248FC80-CA3E-4C3F-A1B1-D31D37B4FE50}"/>
    <dgm:cxn modelId="{23B9C5D1-594C-45F8-AA58-3D30AEB6D6B3}" srcId="{6AADBFDB-C52D-4EAB-BA7B-ED5FBD06D9A5}" destId="{99CD9A27-0A54-4AD8-9DD7-0F59257440B0}" srcOrd="3" destOrd="0" parTransId="{A1DA4E4B-748F-4B1F-8190-D3EE55057046}" sibTransId="{C695EDD7-A5F2-4ED2-8798-9C6FEBD45CB0}"/>
    <dgm:cxn modelId="{3BE45CE2-2303-42C0-9494-B053284D00F3}" type="presOf" srcId="{F6547E4B-C3D8-4DC0-AFAE-623D351703DC}" destId="{4CDF72F4-B4E3-4927-B16D-95D29DC93DDF}" srcOrd="0" destOrd="0" presId="urn:microsoft.com/office/officeart/2005/8/layout/vList2"/>
    <dgm:cxn modelId="{E7CF00F1-37FA-488F-9672-33EA0F51F6E9}" srcId="{6AADBFDB-C52D-4EAB-BA7B-ED5FBD06D9A5}" destId="{ACBF8C8C-37B5-43EE-81CE-B5486D139F8F}" srcOrd="0" destOrd="0" parTransId="{E29B06A6-45E2-4DA1-AA77-BF37D6C50BB0}" sibTransId="{814F02DB-A1B5-4F36-BDB1-FC3335891337}"/>
    <dgm:cxn modelId="{2F5666F8-E720-4E59-A274-D84492108F4B}" type="presOf" srcId="{8DEF6AC0-F084-4BFE-89D0-56DFCEDB548F}" destId="{9E89C688-8A20-4682-8CE6-7CC5D00FFF49}" srcOrd="0" destOrd="0" presId="urn:microsoft.com/office/officeart/2005/8/layout/vList2"/>
    <dgm:cxn modelId="{11C283B1-8590-46F8-8972-FC30934A5727}" type="presParOf" srcId="{2A7A39BC-2526-4C5D-8FB3-55792C38004B}" destId="{E94E51FC-AB9D-4A71-9A52-8561E24C03D2}" srcOrd="0" destOrd="0" presId="urn:microsoft.com/office/officeart/2005/8/layout/vList2"/>
    <dgm:cxn modelId="{1145D6BF-59D1-4C29-828B-3F694847E50C}" type="presParOf" srcId="{2A7A39BC-2526-4C5D-8FB3-55792C38004B}" destId="{B6523A50-ED61-4042-AE57-B8D19CF94CEF}" srcOrd="1" destOrd="0" presId="urn:microsoft.com/office/officeart/2005/8/layout/vList2"/>
    <dgm:cxn modelId="{0C907249-19C0-4A0D-BDC6-626EC8BD7386}" type="presParOf" srcId="{2A7A39BC-2526-4C5D-8FB3-55792C38004B}" destId="{EE95237D-19AE-429C-B3DE-C8E438C276B1}" srcOrd="2" destOrd="0" presId="urn:microsoft.com/office/officeart/2005/8/layout/vList2"/>
    <dgm:cxn modelId="{9B970DB2-0BCA-4204-9C27-8279C7A53817}" type="presParOf" srcId="{2A7A39BC-2526-4C5D-8FB3-55792C38004B}" destId="{1DE28438-1938-43EF-9452-8302FDE128EC}" srcOrd="3" destOrd="0" presId="urn:microsoft.com/office/officeart/2005/8/layout/vList2"/>
    <dgm:cxn modelId="{43AD1118-6BB2-4E7B-ACC8-8C21364C603F}" type="presParOf" srcId="{2A7A39BC-2526-4C5D-8FB3-55792C38004B}" destId="{4CDF72F4-B4E3-4927-B16D-95D29DC93DDF}" srcOrd="4" destOrd="0" presId="urn:microsoft.com/office/officeart/2005/8/layout/vList2"/>
    <dgm:cxn modelId="{5D0AAF98-FB62-4AC3-93C8-0110E0E8C5AE}" type="presParOf" srcId="{2A7A39BC-2526-4C5D-8FB3-55792C38004B}" destId="{2C11B633-CC62-405A-9DE6-2C1F735EF5FB}" srcOrd="5" destOrd="0" presId="urn:microsoft.com/office/officeart/2005/8/layout/vList2"/>
    <dgm:cxn modelId="{13C6D3D2-79A1-47FF-9532-3B6EF8373A55}" type="presParOf" srcId="{2A7A39BC-2526-4C5D-8FB3-55792C38004B}" destId="{B6435B07-5514-46DB-BEF2-5D30915F4519}" srcOrd="6" destOrd="0" presId="urn:microsoft.com/office/officeart/2005/8/layout/vList2"/>
    <dgm:cxn modelId="{49EA22FE-0D86-4843-B021-424451899F19}" type="presParOf" srcId="{2A7A39BC-2526-4C5D-8FB3-55792C38004B}" destId="{FE8BB1DE-1F27-4921-B4FE-E462EB80C76C}" srcOrd="7" destOrd="0" presId="urn:microsoft.com/office/officeart/2005/8/layout/vList2"/>
    <dgm:cxn modelId="{FD5463A0-84BB-4CB9-8CF2-CB22569264CD}" type="presParOf" srcId="{2A7A39BC-2526-4C5D-8FB3-55792C38004B}" destId="{9E89C688-8A20-4682-8CE6-7CC5D00FFF49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6D4B267A-2968-442B-A900-6CDAD1FF2438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95E6ADA0-B786-4C45-A18B-0530DFA03FE8}">
      <dgm:prSet/>
      <dgm:spPr/>
      <dgm:t>
        <a:bodyPr/>
        <a:lstStyle/>
        <a:p>
          <a:r>
            <a:rPr lang="en-US"/>
            <a:t>A </a:t>
          </a:r>
          <a:r>
            <a:rPr lang="en-US" b="1"/>
            <a:t>Scatter Diagram</a:t>
          </a:r>
          <a:r>
            <a:rPr lang="en-US"/>
            <a:t> is a visual tool used to show the relationship between two variables. </a:t>
          </a:r>
        </a:p>
      </dgm:t>
    </dgm:pt>
    <dgm:pt modelId="{EA11A584-4D65-464B-9B01-9D386E1E14BC}" type="parTrans" cxnId="{757EAB66-38F0-44BB-A9DA-8EA9210D2C66}">
      <dgm:prSet/>
      <dgm:spPr/>
      <dgm:t>
        <a:bodyPr/>
        <a:lstStyle/>
        <a:p>
          <a:endParaRPr lang="en-GB"/>
        </a:p>
      </dgm:t>
    </dgm:pt>
    <dgm:pt modelId="{34DBB1F1-3D11-47AF-ABAF-F24EA752BF4B}" type="sibTrans" cxnId="{757EAB66-38F0-44BB-A9DA-8EA9210D2C66}">
      <dgm:prSet/>
      <dgm:spPr/>
      <dgm:t>
        <a:bodyPr/>
        <a:lstStyle/>
        <a:p>
          <a:endParaRPr lang="en-GB"/>
        </a:p>
      </dgm:t>
    </dgm:pt>
    <dgm:pt modelId="{052F443A-1B76-4D0E-9AB2-A464903EBEBA}" type="pres">
      <dgm:prSet presAssocID="{6D4B267A-2968-442B-A900-6CDAD1FF243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703FAF6-D787-499D-8BA3-3AA3694C0BAF}" type="pres">
      <dgm:prSet presAssocID="{95E6ADA0-B786-4C45-A18B-0530DFA03FE8}" presName="root" presStyleCnt="0"/>
      <dgm:spPr/>
    </dgm:pt>
    <dgm:pt modelId="{CD07AA04-C9EC-4C86-B425-46F2E18788F1}" type="pres">
      <dgm:prSet presAssocID="{95E6ADA0-B786-4C45-A18B-0530DFA03FE8}" presName="rootComposite" presStyleCnt="0"/>
      <dgm:spPr/>
    </dgm:pt>
    <dgm:pt modelId="{98777F6A-3894-4426-ABE6-1AB0F6AE86F2}" type="pres">
      <dgm:prSet presAssocID="{95E6ADA0-B786-4C45-A18B-0530DFA03FE8}" presName="rootText" presStyleLbl="node1" presStyleIdx="0" presStyleCnt="1" custLinFactNeighborY="-6764"/>
      <dgm:spPr/>
    </dgm:pt>
    <dgm:pt modelId="{C94C891D-1DB3-4345-A1B1-C6A5BC8D34C5}" type="pres">
      <dgm:prSet presAssocID="{95E6ADA0-B786-4C45-A18B-0530DFA03FE8}" presName="rootConnector" presStyleLbl="node1" presStyleIdx="0" presStyleCnt="1"/>
      <dgm:spPr/>
    </dgm:pt>
    <dgm:pt modelId="{24CC637A-6A98-4FA1-B0A2-4E1C245CEEC2}" type="pres">
      <dgm:prSet presAssocID="{95E6ADA0-B786-4C45-A18B-0530DFA03FE8}" presName="childShape" presStyleCnt="0"/>
      <dgm:spPr/>
    </dgm:pt>
  </dgm:ptLst>
  <dgm:cxnLst>
    <dgm:cxn modelId="{08B9390A-A464-4464-BC9E-1BF08AC3EF3F}" type="presOf" srcId="{6D4B267A-2968-442B-A900-6CDAD1FF2438}" destId="{052F443A-1B76-4D0E-9AB2-A464903EBEBA}" srcOrd="0" destOrd="0" presId="urn:microsoft.com/office/officeart/2005/8/layout/hierarchy3"/>
    <dgm:cxn modelId="{757EAB66-38F0-44BB-A9DA-8EA9210D2C66}" srcId="{6D4B267A-2968-442B-A900-6CDAD1FF2438}" destId="{95E6ADA0-B786-4C45-A18B-0530DFA03FE8}" srcOrd="0" destOrd="0" parTransId="{EA11A584-4D65-464B-9B01-9D386E1E14BC}" sibTransId="{34DBB1F1-3D11-47AF-ABAF-F24EA752BF4B}"/>
    <dgm:cxn modelId="{E1509F6E-4898-4534-9D65-88C074267DDC}" type="presOf" srcId="{95E6ADA0-B786-4C45-A18B-0530DFA03FE8}" destId="{C94C891D-1DB3-4345-A1B1-C6A5BC8D34C5}" srcOrd="1" destOrd="0" presId="urn:microsoft.com/office/officeart/2005/8/layout/hierarchy3"/>
    <dgm:cxn modelId="{F594DF54-9C2A-4388-B016-A8C86E64BBBC}" type="presOf" srcId="{95E6ADA0-B786-4C45-A18B-0530DFA03FE8}" destId="{98777F6A-3894-4426-ABE6-1AB0F6AE86F2}" srcOrd="0" destOrd="0" presId="urn:microsoft.com/office/officeart/2005/8/layout/hierarchy3"/>
    <dgm:cxn modelId="{D60F7EEA-13EF-45FD-84DC-CC1349681A86}" type="presParOf" srcId="{052F443A-1B76-4D0E-9AB2-A464903EBEBA}" destId="{6703FAF6-D787-499D-8BA3-3AA3694C0BAF}" srcOrd="0" destOrd="0" presId="urn:microsoft.com/office/officeart/2005/8/layout/hierarchy3"/>
    <dgm:cxn modelId="{E9446877-EDEB-4CFD-B5A4-EF2E60FACE87}" type="presParOf" srcId="{6703FAF6-D787-499D-8BA3-3AA3694C0BAF}" destId="{CD07AA04-C9EC-4C86-B425-46F2E18788F1}" srcOrd="0" destOrd="0" presId="urn:microsoft.com/office/officeart/2005/8/layout/hierarchy3"/>
    <dgm:cxn modelId="{2A401F77-19EF-47E8-B36F-FEA856050382}" type="presParOf" srcId="{CD07AA04-C9EC-4C86-B425-46F2E18788F1}" destId="{98777F6A-3894-4426-ABE6-1AB0F6AE86F2}" srcOrd="0" destOrd="0" presId="urn:microsoft.com/office/officeart/2005/8/layout/hierarchy3"/>
    <dgm:cxn modelId="{1D7CEE7C-18B8-4869-A48F-0EC73E9B0256}" type="presParOf" srcId="{CD07AA04-C9EC-4C86-B425-46F2E18788F1}" destId="{C94C891D-1DB3-4345-A1B1-C6A5BC8D34C5}" srcOrd="1" destOrd="0" presId="urn:microsoft.com/office/officeart/2005/8/layout/hierarchy3"/>
    <dgm:cxn modelId="{1FA2A126-F662-4E27-B49B-CE06C0041076}" type="presParOf" srcId="{6703FAF6-D787-499D-8BA3-3AA3694C0BAF}" destId="{24CC637A-6A98-4FA1-B0A2-4E1C245CEEC2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38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8B1A94F7-E585-4598-B2D4-64B31A01E994}" type="doc">
      <dgm:prSet loTypeId="urn:microsoft.com/office/officeart/2005/8/layout/hierarchy3" loCatId="relationship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2C3B9199-C4C4-4CBB-8AF8-32C3BBCF8493}">
      <dgm:prSet/>
      <dgm:spPr/>
      <dgm:t>
        <a:bodyPr/>
        <a:lstStyle/>
        <a:p>
          <a:r>
            <a:rPr lang="en-US" dirty="0"/>
            <a:t>A </a:t>
          </a:r>
          <a:r>
            <a:rPr lang="en-US" b="1" dirty="0"/>
            <a:t>Pareto Chart </a:t>
          </a:r>
          <a:r>
            <a:rPr lang="en-US" dirty="0"/>
            <a:t>is a visual tool used to highlight the most significant factors in a dataset. </a:t>
          </a:r>
        </a:p>
      </dgm:t>
    </dgm:pt>
    <dgm:pt modelId="{A4E71BC9-7A36-497E-88DF-AF48EB413997}" type="parTrans" cxnId="{CBE19C6D-974A-42EB-B1F1-6445C2F4DF8D}">
      <dgm:prSet/>
      <dgm:spPr/>
      <dgm:t>
        <a:bodyPr/>
        <a:lstStyle/>
        <a:p>
          <a:endParaRPr lang="en-GB"/>
        </a:p>
      </dgm:t>
    </dgm:pt>
    <dgm:pt modelId="{CB8BCF1D-22B0-4A35-9E46-08ECEB74C02B}" type="sibTrans" cxnId="{CBE19C6D-974A-42EB-B1F1-6445C2F4DF8D}">
      <dgm:prSet/>
      <dgm:spPr/>
      <dgm:t>
        <a:bodyPr/>
        <a:lstStyle/>
        <a:p>
          <a:endParaRPr lang="en-GB"/>
        </a:p>
      </dgm:t>
    </dgm:pt>
    <dgm:pt modelId="{D30F979B-5A87-4FB7-9F23-3AB7B1CBFD04}" type="pres">
      <dgm:prSet presAssocID="{8B1A94F7-E585-4598-B2D4-64B31A01E99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6985695-B78A-4032-90E4-A936F1DD68D8}" type="pres">
      <dgm:prSet presAssocID="{2C3B9199-C4C4-4CBB-8AF8-32C3BBCF8493}" presName="root" presStyleCnt="0"/>
      <dgm:spPr/>
    </dgm:pt>
    <dgm:pt modelId="{DEA52F56-B6E3-4081-AF4E-89868956CAC5}" type="pres">
      <dgm:prSet presAssocID="{2C3B9199-C4C4-4CBB-8AF8-32C3BBCF8493}" presName="rootComposite" presStyleCnt="0"/>
      <dgm:spPr/>
    </dgm:pt>
    <dgm:pt modelId="{406EC9E5-1BDD-45FD-8FF6-3AC7833AC155}" type="pres">
      <dgm:prSet presAssocID="{2C3B9199-C4C4-4CBB-8AF8-32C3BBCF8493}" presName="rootText" presStyleLbl="node1" presStyleIdx="0" presStyleCnt="1"/>
      <dgm:spPr/>
    </dgm:pt>
    <dgm:pt modelId="{B30AA9EB-1A97-4155-93DA-739D158FB769}" type="pres">
      <dgm:prSet presAssocID="{2C3B9199-C4C4-4CBB-8AF8-32C3BBCF8493}" presName="rootConnector" presStyleLbl="node1" presStyleIdx="0" presStyleCnt="1"/>
      <dgm:spPr/>
    </dgm:pt>
    <dgm:pt modelId="{46924B4C-5C62-47CE-AD3F-814EE5BF9BBD}" type="pres">
      <dgm:prSet presAssocID="{2C3B9199-C4C4-4CBB-8AF8-32C3BBCF8493}" presName="childShape" presStyleCnt="0"/>
      <dgm:spPr/>
    </dgm:pt>
  </dgm:ptLst>
  <dgm:cxnLst>
    <dgm:cxn modelId="{CBE19C6D-974A-42EB-B1F1-6445C2F4DF8D}" srcId="{8B1A94F7-E585-4598-B2D4-64B31A01E994}" destId="{2C3B9199-C4C4-4CBB-8AF8-32C3BBCF8493}" srcOrd="0" destOrd="0" parTransId="{A4E71BC9-7A36-497E-88DF-AF48EB413997}" sibTransId="{CB8BCF1D-22B0-4A35-9E46-08ECEB74C02B}"/>
    <dgm:cxn modelId="{CAE3954F-1A20-40F0-B30F-C00D529410CF}" type="presOf" srcId="{2C3B9199-C4C4-4CBB-8AF8-32C3BBCF8493}" destId="{406EC9E5-1BDD-45FD-8FF6-3AC7833AC155}" srcOrd="0" destOrd="0" presId="urn:microsoft.com/office/officeart/2005/8/layout/hierarchy3"/>
    <dgm:cxn modelId="{8F8AB3A5-CC25-4C2F-B906-E5640C7F6132}" type="presOf" srcId="{2C3B9199-C4C4-4CBB-8AF8-32C3BBCF8493}" destId="{B30AA9EB-1A97-4155-93DA-739D158FB769}" srcOrd="1" destOrd="0" presId="urn:microsoft.com/office/officeart/2005/8/layout/hierarchy3"/>
    <dgm:cxn modelId="{3DE3F1B1-5788-479B-9C87-C6FDA657D592}" type="presOf" srcId="{8B1A94F7-E585-4598-B2D4-64B31A01E994}" destId="{D30F979B-5A87-4FB7-9F23-3AB7B1CBFD04}" srcOrd="0" destOrd="0" presId="urn:microsoft.com/office/officeart/2005/8/layout/hierarchy3"/>
    <dgm:cxn modelId="{F43264FB-87CE-4D4D-B7F7-8DB1FB89FBA4}" type="presParOf" srcId="{D30F979B-5A87-4FB7-9F23-3AB7B1CBFD04}" destId="{D6985695-B78A-4032-90E4-A936F1DD68D8}" srcOrd="0" destOrd="0" presId="urn:microsoft.com/office/officeart/2005/8/layout/hierarchy3"/>
    <dgm:cxn modelId="{643E7A57-CA54-44F2-9E94-2A6BBF1F3EB8}" type="presParOf" srcId="{D6985695-B78A-4032-90E4-A936F1DD68D8}" destId="{DEA52F56-B6E3-4081-AF4E-89868956CAC5}" srcOrd="0" destOrd="0" presId="urn:microsoft.com/office/officeart/2005/8/layout/hierarchy3"/>
    <dgm:cxn modelId="{4616E337-1F6A-4004-9B02-C25934CD75EE}" type="presParOf" srcId="{DEA52F56-B6E3-4081-AF4E-89868956CAC5}" destId="{406EC9E5-1BDD-45FD-8FF6-3AC7833AC155}" srcOrd="0" destOrd="0" presId="urn:microsoft.com/office/officeart/2005/8/layout/hierarchy3"/>
    <dgm:cxn modelId="{8CF3214B-E8A4-4C29-B0D7-6DAB2DE738F8}" type="presParOf" srcId="{DEA52F56-B6E3-4081-AF4E-89868956CAC5}" destId="{B30AA9EB-1A97-4155-93DA-739D158FB769}" srcOrd="1" destOrd="0" presId="urn:microsoft.com/office/officeart/2005/8/layout/hierarchy3"/>
    <dgm:cxn modelId="{F0BBA8F8-3C7B-4E57-965D-9630F6751007}" type="presParOf" srcId="{D6985695-B78A-4032-90E4-A936F1DD68D8}" destId="{46924B4C-5C62-47CE-AD3F-814EE5BF9BBD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43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F1D4EC5-F6E0-4838-8970-B9D49F5F4C4A}" type="doc">
      <dgm:prSet loTypeId="urn:microsoft.com/office/officeart/2005/8/layout/vList2" loCatId="list" qsTypeId="urn:microsoft.com/office/officeart/2005/8/quickstyle/simple1" qsCatId="simple" csTypeId="urn:microsoft.com/office/officeart/2005/8/colors/accent1_4" csCatId="accent1"/>
      <dgm:spPr/>
      <dgm:t>
        <a:bodyPr/>
        <a:lstStyle/>
        <a:p>
          <a:endParaRPr lang="en-GB"/>
        </a:p>
      </dgm:t>
    </dgm:pt>
    <dgm:pt modelId="{B4C02C24-0257-4201-90D1-7BB972343402}">
      <dgm:prSet/>
      <dgm:spPr/>
      <dgm:t>
        <a:bodyPr/>
        <a:lstStyle/>
        <a:p>
          <a:r>
            <a:rPr lang="en-IN" b="1"/>
            <a:t>Use Case: </a:t>
          </a:r>
          <a:r>
            <a:rPr lang="en-IN"/>
            <a:t>Organizing large amounts of qualitative data into natural groupings for pattern recognition. For example, grouping 200+ customer feedback comments into themed categories revealing primary satisfaction drivers.</a:t>
          </a:r>
          <a:endParaRPr lang="en-US"/>
        </a:p>
      </dgm:t>
    </dgm:pt>
    <dgm:pt modelId="{D8930AF6-1BA0-46EC-A61F-7F0FA32335E9}" type="parTrans" cxnId="{146D192D-3C96-4485-A5F6-DF73A6D46694}">
      <dgm:prSet/>
      <dgm:spPr/>
      <dgm:t>
        <a:bodyPr/>
        <a:lstStyle/>
        <a:p>
          <a:endParaRPr lang="en-GB"/>
        </a:p>
      </dgm:t>
    </dgm:pt>
    <dgm:pt modelId="{DA4B25C3-3570-4294-96E9-7EFC171592B0}" type="sibTrans" cxnId="{146D192D-3C96-4485-A5F6-DF73A6D46694}">
      <dgm:prSet/>
      <dgm:spPr/>
      <dgm:t>
        <a:bodyPr/>
        <a:lstStyle/>
        <a:p>
          <a:endParaRPr lang="en-GB"/>
        </a:p>
      </dgm:t>
    </dgm:pt>
    <dgm:pt modelId="{2F95D5E5-E123-4C22-9FFF-F4D5D8F15B3A}">
      <dgm:prSet/>
      <dgm:spPr/>
      <dgm:t>
        <a:bodyPr/>
        <a:lstStyle/>
        <a:p>
          <a:r>
            <a:rPr lang="en-IN"/>
            <a:t>Affinity diagrams transform chaos into clarity by organizing brainstormed ideas into natural groups. This visual clustering reveals patterns and priorities hidden in overwhelming detail, enabling focused action planning.</a:t>
          </a:r>
          <a:endParaRPr lang="en-US"/>
        </a:p>
      </dgm:t>
    </dgm:pt>
    <dgm:pt modelId="{5320C73C-F8A2-4A68-BC10-4E2C66E810F7}" type="parTrans" cxnId="{4116F83C-930A-481B-97E4-C51BBC9C193A}">
      <dgm:prSet/>
      <dgm:spPr/>
      <dgm:t>
        <a:bodyPr/>
        <a:lstStyle/>
        <a:p>
          <a:endParaRPr lang="en-GB"/>
        </a:p>
      </dgm:t>
    </dgm:pt>
    <dgm:pt modelId="{83612C99-6EFF-4E36-B91E-656217EA3305}" type="sibTrans" cxnId="{4116F83C-930A-481B-97E4-C51BBC9C193A}">
      <dgm:prSet/>
      <dgm:spPr/>
      <dgm:t>
        <a:bodyPr/>
        <a:lstStyle/>
        <a:p>
          <a:endParaRPr lang="en-GB"/>
        </a:p>
      </dgm:t>
    </dgm:pt>
    <dgm:pt modelId="{F934D9BB-9411-43DE-8FB4-CA7D535E64F0}" type="pres">
      <dgm:prSet presAssocID="{3F1D4EC5-F6E0-4838-8970-B9D49F5F4C4A}" presName="linear" presStyleCnt="0">
        <dgm:presLayoutVars>
          <dgm:animLvl val="lvl"/>
          <dgm:resizeHandles val="exact"/>
        </dgm:presLayoutVars>
      </dgm:prSet>
      <dgm:spPr/>
    </dgm:pt>
    <dgm:pt modelId="{3A068048-AC95-4EEC-B896-EFA38726FA29}" type="pres">
      <dgm:prSet presAssocID="{B4C02C24-0257-4201-90D1-7BB972343402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56564927-20ED-495A-AEC4-9CEA5410D20B}" type="pres">
      <dgm:prSet presAssocID="{DA4B25C3-3570-4294-96E9-7EFC171592B0}" presName="spacer" presStyleCnt="0"/>
      <dgm:spPr/>
    </dgm:pt>
    <dgm:pt modelId="{399662BA-D0D6-4F97-98F9-933543583162}" type="pres">
      <dgm:prSet presAssocID="{2F95D5E5-E123-4C22-9FFF-F4D5D8F15B3A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146D192D-3C96-4485-A5F6-DF73A6D46694}" srcId="{3F1D4EC5-F6E0-4838-8970-B9D49F5F4C4A}" destId="{B4C02C24-0257-4201-90D1-7BB972343402}" srcOrd="0" destOrd="0" parTransId="{D8930AF6-1BA0-46EC-A61F-7F0FA32335E9}" sibTransId="{DA4B25C3-3570-4294-96E9-7EFC171592B0}"/>
    <dgm:cxn modelId="{4116F83C-930A-481B-97E4-C51BBC9C193A}" srcId="{3F1D4EC5-F6E0-4838-8970-B9D49F5F4C4A}" destId="{2F95D5E5-E123-4C22-9FFF-F4D5D8F15B3A}" srcOrd="1" destOrd="0" parTransId="{5320C73C-F8A2-4A68-BC10-4E2C66E810F7}" sibTransId="{83612C99-6EFF-4E36-B91E-656217EA3305}"/>
    <dgm:cxn modelId="{6CED978F-EAB8-4A79-A513-E809295B2287}" type="presOf" srcId="{2F95D5E5-E123-4C22-9FFF-F4D5D8F15B3A}" destId="{399662BA-D0D6-4F97-98F9-933543583162}" srcOrd="0" destOrd="0" presId="urn:microsoft.com/office/officeart/2005/8/layout/vList2"/>
    <dgm:cxn modelId="{264A51AC-BAA5-4B49-8A23-B3C13D0F3195}" type="presOf" srcId="{3F1D4EC5-F6E0-4838-8970-B9D49F5F4C4A}" destId="{F934D9BB-9411-43DE-8FB4-CA7D535E64F0}" srcOrd="0" destOrd="0" presId="urn:microsoft.com/office/officeart/2005/8/layout/vList2"/>
    <dgm:cxn modelId="{F230AFD9-BDC5-4A28-A136-DE70217D32AE}" type="presOf" srcId="{B4C02C24-0257-4201-90D1-7BB972343402}" destId="{3A068048-AC95-4EEC-B896-EFA38726FA29}" srcOrd="0" destOrd="0" presId="urn:microsoft.com/office/officeart/2005/8/layout/vList2"/>
    <dgm:cxn modelId="{6E1114A6-061A-4A65-A2A8-B6839DCB0B7C}" type="presParOf" srcId="{F934D9BB-9411-43DE-8FB4-CA7D535E64F0}" destId="{3A068048-AC95-4EEC-B896-EFA38726FA29}" srcOrd="0" destOrd="0" presId="urn:microsoft.com/office/officeart/2005/8/layout/vList2"/>
    <dgm:cxn modelId="{C0129D1C-31DB-4C96-8589-306C0186E0BC}" type="presParOf" srcId="{F934D9BB-9411-43DE-8FB4-CA7D535E64F0}" destId="{56564927-20ED-495A-AEC4-9CEA5410D20B}" srcOrd="1" destOrd="0" presId="urn:microsoft.com/office/officeart/2005/8/layout/vList2"/>
    <dgm:cxn modelId="{21995090-58BF-4AB3-B77D-94225B0CA27F}" type="presParOf" srcId="{F934D9BB-9411-43DE-8FB4-CA7D535E64F0}" destId="{399662BA-D0D6-4F97-98F9-933543583162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5FA8CCF2-79FF-47CD-AB0F-207C0863349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0332D363-5838-4801-829D-EE91988A09C1}">
      <dgm:prSet/>
      <dgm:spPr/>
      <dgm:t>
        <a:bodyPr/>
        <a:lstStyle/>
        <a:p>
          <a:r>
            <a:rPr lang="en-US" b="0" i="0" dirty="0"/>
            <a:t>An </a:t>
          </a:r>
          <a:r>
            <a:rPr lang="en-US" b="0" i="0" dirty="0">
              <a:hlinkClick xmlns:r="http://schemas.openxmlformats.org/officeDocument/2006/relationships" r:id="rId1"/>
            </a:rPr>
            <a:t>L-shaped matrix</a:t>
          </a:r>
          <a:r>
            <a:rPr lang="en-US" b="0" i="0" dirty="0"/>
            <a:t> relates two groups of items to each other (or one group to itself).</a:t>
          </a:r>
          <a:endParaRPr lang="en-US" dirty="0"/>
        </a:p>
      </dgm:t>
    </dgm:pt>
    <dgm:pt modelId="{14ADAD70-6974-4432-A5A6-AF19B5F713A0}" type="parTrans" cxnId="{97A5B3FA-A4EC-4333-AD28-88133285A3E9}">
      <dgm:prSet/>
      <dgm:spPr/>
      <dgm:t>
        <a:bodyPr/>
        <a:lstStyle/>
        <a:p>
          <a:endParaRPr lang="en-GB"/>
        </a:p>
      </dgm:t>
    </dgm:pt>
    <dgm:pt modelId="{EDE25842-9E0C-4A46-A527-0199DDA5744E}" type="sibTrans" cxnId="{97A5B3FA-A4EC-4333-AD28-88133285A3E9}">
      <dgm:prSet/>
      <dgm:spPr/>
      <dgm:t>
        <a:bodyPr/>
        <a:lstStyle/>
        <a:p>
          <a:endParaRPr lang="en-GB"/>
        </a:p>
      </dgm:t>
    </dgm:pt>
    <dgm:pt modelId="{DD7CA507-9EE0-4F21-B7F6-5B262070B3CE}">
      <dgm:prSet/>
      <dgm:spPr/>
      <dgm:t>
        <a:bodyPr/>
        <a:lstStyle/>
        <a:p>
          <a:r>
            <a:rPr lang="en-US" b="0" i="0"/>
            <a:t>A </a:t>
          </a:r>
          <a:r>
            <a:rPr lang="en-US" b="0" i="0">
              <a:hlinkClick xmlns:r="http://schemas.openxmlformats.org/officeDocument/2006/relationships" r:id="rId1"/>
            </a:rPr>
            <a:t>T-shaped matrix</a:t>
          </a:r>
          <a:r>
            <a:rPr lang="en-US" b="0" i="0"/>
            <a:t> relates three groups of items: groups B and C are each related to A; groups B and C are not related to each other.</a:t>
          </a:r>
          <a:endParaRPr lang="en-US"/>
        </a:p>
      </dgm:t>
    </dgm:pt>
    <dgm:pt modelId="{DB21C816-7E43-4EED-AECE-A12FC05FFEFA}" type="parTrans" cxnId="{82E3CFD8-6BF2-4D65-8B93-04C3F84D9CA3}">
      <dgm:prSet/>
      <dgm:spPr/>
      <dgm:t>
        <a:bodyPr/>
        <a:lstStyle/>
        <a:p>
          <a:endParaRPr lang="en-GB"/>
        </a:p>
      </dgm:t>
    </dgm:pt>
    <dgm:pt modelId="{516F755C-DF90-4A77-8508-4AD27C91A849}" type="sibTrans" cxnId="{82E3CFD8-6BF2-4D65-8B93-04C3F84D9CA3}">
      <dgm:prSet/>
      <dgm:spPr/>
      <dgm:t>
        <a:bodyPr/>
        <a:lstStyle/>
        <a:p>
          <a:endParaRPr lang="en-GB"/>
        </a:p>
      </dgm:t>
    </dgm:pt>
    <dgm:pt modelId="{6A8154C6-9711-4DCA-80DD-66DF5FF42EC3}">
      <dgm:prSet/>
      <dgm:spPr/>
      <dgm:t>
        <a:bodyPr/>
        <a:lstStyle/>
        <a:p>
          <a:r>
            <a:rPr lang="en-US" b="0" i="0"/>
            <a:t>A </a:t>
          </a:r>
          <a:r>
            <a:rPr lang="en-US" b="0" i="0">
              <a:hlinkClick xmlns:r="http://schemas.openxmlformats.org/officeDocument/2006/relationships" r:id="rId1"/>
            </a:rPr>
            <a:t>Y-shaped matrix</a:t>
          </a:r>
          <a:r>
            <a:rPr lang="en-US" b="0" i="0"/>
            <a:t> relates three groups of items: each group is related to the other two in a circular fashion.</a:t>
          </a:r>
          <a:endParaRPr lang="en-US"/>
        </a:p>
      </dgm:t>
    </dgm:pt>
    <dgm:pt modelId="{32029C59-FFCA-4435-A1D8-D8E13F8C6B80}" type="parTrans" cxnId="{2A68F551-5E85-4C1F-8E5A-F004290FC536}">
      <dgm:prSet/>
      <dgm:spPr/>
      <dgm:t>
        <a:bodyPr/>
        <a:lstStyle/>
        <a:p>
          <a:endParaRPr lang="en-GB"/>
        </a:p>
      </dgm:t>
    </dgm:pt>
    <dgm:pt modelId="{27D498BE-7BBA-4006-AE21-22701AD12057}" type="sibTrans" cxnId="{2A68F551-5E85-4C1F-8E5A-F004290FC536}">
      <dgm:prSet/>
      <dgm:spPr/>
      <dgm:t>
        <a:bodyPr/>
        <a:lstStyle/>
        <a:p>
          <a:endParaRPr lang="en-GB"/>
        </a:p>
      </dgm:t>
    </dgm:pt>
    <dgm:pt modelId="{62391D92-8FFD-4777-ADB9-9D140B5DB17B}">
      <dgm:prSet/>
      <dgm:spPr/>
      <dgm:t>
        <a:bodyPr/>
        <a:lstStyle/>
        <a:p>
          <a:r>
            <a:rPr lang="en-US" b="0" i="0"/>
            <a:t>A </a:t>
          </a:r>
          <a:r>
            <a:rPr lang="en-US" b="0" i="0">
              <a:hlinkClick xmlns:r="http://schemas.openxmlformats.org/officeDocument/2006/relationships" r:id="rId1"/>
            </a:rPr>
            <a:t>C-shaped matrix</a:t>
          </a:r>
          <a:r>
            <a:rPr lang="en-US" b="0" i="0"/>
            <a:t> relates three groups of items all together simultaneously, in 3D.</a:t>
          </a:r>
          <a:endParaRPr lang="en-US"/>
        </a:p>
      </dgm:t>
    </dgm:pt>
    <dgm:pt modelId="{3872DE58-F208-474D-A90B-34598EAA936C}" type="parTrans" cxnId="{0E74B236-58D2-44D1-B5A6-9D1A266588E2}">
      <dgm:prSet/>
      <dgm:spPr/>
      <dgm:t>
        <a:bodyPr/>
        <a:lstStyle/>
        <a:p>
          <a:endParaRPr lang="en-GB"/>
        </a:p>
      </dgm:t>
    </dgm:pt>
    <dgm:pt modelId="{EC3C9810-2CA2-49ED-9EA1-317BCE4FDDAC}" type="sibTrans" cxnId="{0E74B236-58D2-44D1-B5A6-9D1A266588E2}">
      <dgm:prSet/>
      <dgm:spPr/>
      <dgm:t>
        <a:bodyPr/>
        <a:lstStyle/>
        <a:p>
          <a:endParaRPr lang="en-GB"/>
        </a:p>
      </dgm:t>
    </dgm:pt>
    <dgm:pt modelId="{EDBC47B4-4789-4D0A-B311-0A0456245716}">
      <dgm:prSet/>
      <dgm:spPr/>
      <dgm:t>
        <a:bodyPr/>
        <a:lstStyle/>
        <a:p>
          <a:r>
            <a:rPr lang="en-US" b="0" i="0"/>
            <a:t>An </a:t>
          </a:r>
          <a:r>
            <a:rPr lang="en-US" b="0" i="0">
              <a:hlinkClick xmlns:r="http://schemas.openxmlformats.org/officeDocument/2006/relationships" r:id="rId1"/>
            </a:rPr>
            <a:t>X-shaped matrix</a:t>
          </a:r>
          <a:r>
            <a:rPr lang="en-US" b="0" i="0"/>
            <a:t> relates four groups of items: each group is related to two others in a circular fashion.</a:t>
          </a:r>
          <a:endParaRPr lang="en-US"/>
        </a:p>
      </dgm:t>
    </dgm:pt>
    <dgm:pt modelId="{BFD440A5-DA23-4260-ABE5-3F334FB3492A}" type="parTrans" cxnId="{31711C6C-43A3-4C7E-9D7D-160C5215086B}">
      <dgm:prSet/>
      <dgm:spPr/>
      <dgm:t>
        <a:bodyPr/>
        <a:lstStyle/>
        <a:p>
          <a:endParaRPr lang="en-GB"/>
        </a:p>
      </dgm:t>
    </dgm:pt>
    <dgm:pt modelId="{1FC8C7F3-DB12-4407-BEBF-0652D2298051}" type="sibTrans" cxnId="{31711C6C-43A3-4C7E-9D7D-160C5215086B}">
      <dgm:prSet/>
      <dgm:spPr/>
      <dgm:t>
        <a:bodyPr/>
        <a:lstStyle/>
        <a:p>
          <a:endParaRPr lang="en-GB"/>
        </a:p>
      </dgm:t>
    </dgm:pt>
    <dgm:pt modelId="{07D9F20E-0484-40F5-90A2-5EEA21416467}">
      <dgm:prSet/>
      <dgm:spPr/>
      <dgm:t>
        <a:bodyPr/>
        <a:lstStyle/>
        <a:p>
          <a:r>
            <a:rPr lang="en-US" b="0" i="0"/>
            <a:t>A </a:t>
          </a:r>
          <a:r>
            <a:rPr lang="en-US" b="0" i="0">
              <a:hlinkClick xmlns:r="http://schemas.openxmlformats.org/officeDocument/2006/relationships" r:id="rId1"/>
            </a:rPr>
            <a:t>roof-shaped matrix</a:t>
          </a:r>
          <a:r>
            <a:rPr lang="en-US" b="0" i="0"/>
            <a:t> relates one group of items to itself; it is usually used along with an L- or T-shaped matrix.</a:t>
          </a:r>
          <a:endParaRPr lang="en-US"/>
        </a:p>
      </dgm:t>
    </dgm:pt>
    <dgm:pt modelId="{43FBD20E-0255-4FEB-9D96-C96A2D61733F}" type="parTrans" cxnId="{32FF42FC-B7BA-4661-AFE4-6665256F4921}">
      <dgm:prSet/>
      <dgm:spPr/>
      <dgm:t>
        <a:bodyPr/>
        <a:lstStyle/>
        <a:p>
          <a:endParaRPr lang="en-GB"/>
        </a:p>
      </dgm:t>
    </dgm:pt>
    <dgm:pt modelId="{29131E7B-9D16-4E77-AD5B-97CCCE53720E}" type="sibTrans" cxnId="{32FF42FC-B7BA-4661-AFE4-6665256F4921}">
      <dgm:prSet/>
      <dgm:spPr/>
      <dgm:t>
        <a:bodyPr/>
        <a:lstStyle/>
        <a:p>
          <a:endParaRPr lang="en-GB"/>
        </a:p>
      </dgm:t>
    </dgm:pt>
    <dgm:pt modelId="{929DB6B8-AA5A-4F25-8A70-9310AC30FA54}" type="pres">
      <dgm:prSet presAssocID="{5FA8CCF2-79FF-47CD-AB0F-207C0863349E}" presName="linear" presStyleCnt="0">
        <dgm:presLayoutVars>
          <dgm:animLvl val="lvl"/>
          <dgm:resizeHandles val="exact"/>
        </dgm:presLayoutVars>
      </dgm:prSet>
      <dgm:spPr/>
    </dgm:pt>
    <dgm:pt modelId="{50A38BFD-116D-4A6D-9789-C6CBEB6543A5}" type="pres">
      <dgm:prSet presAssocID="{0332D363-5838-4801-829D-EE91988A09C1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9C498CDA-D8DC-4D52-BD45-4A29821AD4E4}" type="pres">
      <dgm:prSet presAssocID="{EDE25842-9E0C-4A46-A527-0199DDA5744E}" presName="spacer" presStyleCnt="0"/>
      <dgm:spPr/>
    </dgm:pt>
    <dgm:pt modelId="{20879D0F-7143-4806-AE34-A2D58F3980CD}" type="pres">
      <dgm:prSet presAssocID="{DD7CA507-9EE0-4F21-B7F6-5B262070B3C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62D486BE-1996-4FB1-B849-ABDB3D7FACE7}" type="pres">
      <dgm:prSet presAssocID="{516F755C-DF90-4A77-8508-4AD27C91A849}" presName="spacer" presStyleCnt="0"/>
      <dgm:spPr/>
    </dgm:pt>
    <dgm:pt modelId="{844126CA-7B61-4542-BC20-23B3F8A39278}" type="pres">
      <dgm:prSet presAssocID="{6A8154C6-9711-4DCA-80DD-66DF5FF42EC3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90224C5B-6F93-4A47-A481-D222AE4F83B6}" type="pres">
      <dgm:prSet presAssocID="{27D498BE-7BBA-4006-AE21-22701AD12057}" presName="spacer" presStyleCnt="0"/>
      <dgm:spPr/>
    </dgm:pt>
    <dgm:pt modelId="{CCF5F136-E85A-43B1-845D-24BB089ED2D6}" type="pres">
      <dgm:prSet presAssocID="{62391D92-8FFD-4777-ADB9-9D140B5DB17B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627C1F56-FB87-4A48-8A33-A0B4B19271F1}" type="pres">
      <dgm:prSet presAssocID="{EC3C9810-2CA2-49ED-9EA1-317BCE4FDDAC}" presName="spacer" presStyleCnt="0"/>
      <dgm:spPr/>
    </dgm:pt>
    <dgm:pt modelId="{2C7BC074-7112-443A-9F17-24C78763DB5A}" type="pres">
      <dgm:prSet presAssocID="{EDBC47B4-4789-4D0A-B311-0A0456245716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6EE3A73C-CFE7-4FC3-A9E8-95DF970DA1DA}" type="pres">
      <dgm:prSet presAssocID="{1FC8C7F3-DB12-4407-BEBF-0652D2298051}" presName="spacer" presStyleCnt="0"/>
      <dgm:spPr/>
    </dgm:pt>
    <dgm:pt modelId="{EAA11B02-B9C5-408B-8EAA-F20A6A3012C9}" type="pres">
      <dgm:prSet presAssocID="{07D9F20E-0484-40F5-90A2-5EEA21416467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059F420B-2189-457C-B10E-1BE5FD7B1A37}" type="presOf" srcId="{62391D92-8FFD-4777-ADB9-9D140B5DB17B}" destId="{CCF5F136-E85A-43B1-845D-24BB089ED2D6}" srcOrd="0" destOrd="0" presId="urn:microsoft.com/office/officeart/2005/8/layout/vList2"/>
    <dgm:cxn modelId="{3752A51D-BC66-4ABB-86A5-C6C41C71099F}" type="presOf" srcId="{5FA8CCF2-79FF-47CD-AB0F-207C0863349E}" destId="{929DB6B8-AA5A-4F25-8A70-9310AC30FA54}" srcOrd="0" destOrd="0" presId="urn:microsoft.com/office/officeart/2005/8/layout/vList2"/>
    <dgm:cxn modelId="{0E74B236-58D2-44D1-B5A6-9D1A266588E2}" srcId="{5FA8CCF2-79FF-47CD-AB0F-207C0863349E}" destId="{62391D92-8FFD-4777-ADB9-9D140B5DB17B}" srcOrd="3" destOrd="0" parTransId="{3872DE58-F208-474D-A90B-34598EAA936C}" sibTransId="{EC3C9810-2CA2-49ED-9EA1-317BCE4FDDAC}"/>
    <dgm:cxn modelId="{31711C6C-43A3-4C7E-9D7D-160C5215086B}" srcId="{5FA8CCF2-79FF-47CD-AB0F-207C0863349E}" destId="{EDBC47B4-4789-4D0A-B311-0A0456245716}" srcOrd="4" destOrd="0" parTransId="{BFD440A5-DA23-4260-ABE5-3F334FB3492A}" sibTransId="{1FC8C7F3-DB12-4407-BEBF-0652D2298051}"/>
    <dgm:cxn modelId="{2A68F551-5E85-4C1F-8E5A-F004290FC536}" srcId="{5FA8CCF2-79FF-47CD-AB0F-207C0863349E}" destId="{6A8154C6-9711-4DCA-80DD-66DF5FF42EC3}" srcOrd="2" destOrd="0" parTransId="{32029C59-FFCA-4435-A1D8-D8E13F8C6B80}" sibTransId="{27D498BE-7BBA-4006-AE21-22701AD12057}"/>
    <dgm:cxn modelId="{F21AF28F-7FBC-4AFE-B11D-6EAB27BEBE8B}" type="presOf" srcId="{6A8154C6-9711-4DCA-80DD-66DF5FF42EC3}" destId="{844126CA-7B61-4542-BC20-23B3F8A39278}" srcOrd="0" destOrd="0" presId="urn:microsoft.com/office/officeart/2005/8/layout/vList2"/>
    <dgm:cxn modelId="{256AD8AD-88C6-4095-9E68-686EDEE67130}" type="presOf" srcId="{DD7CA507-9EE0-4F21-B7F6-5B262070B3CE}" destId="{20879D0F-7143-4806-AE34-A2D58F3980CD}" srcOrd="0" destOrd="0" presId="urn:microsoft.com/office/officeart/2005/8/layout/vList2"/>
    <dgm:cxn modelId="{DBB082B2-5C7B-470A-A77E-C4FC8C88D387}" type="presOf" srcId="{EDBC47B4-4789-4D0A-B311-0A0456245716}" destId="{2C7BC074-7112-443A-9F17-24C78763DB5A}" srcOrd="0" destOrd="0" presId="urn:microsoft.com/office/officeart/2005/8/layout/vList2"/>
    <dgm:cxn modelId="{B76A8BC7-6AC4-4A2B-B98F-75EEDDEEE498}" type="presOf" srcId="{07D9F20E-0484-40F5-90A2-5EEA21416467}" destId="{EAA11B02-B9C5-408B-8EAA-F20A6A3012C9}" srcOrd="0" destOrd="0" presId="urn:microsoft.com/office/officeart/2005/8/layout/vList2"/>
    <dgm:cxn modelId="{82E3CFD8-6BF2-4D65-8B93-04C3F84D9CA3}" srcId="{5FA8CCF2-79FF-47CD-AB0F-207C0863349E}" destId="{DD7CA507-9EE0-4F21-B7F6-5B262070B3CE}" srcOrd="1" destOrd="0" parTransId="{DB21C816-7E43-4EED-AECE-A12FC05FFEFA}" sibTransId="{516F755C-DF90-4A77-8508-4AD27C91A849}"/>
    <dgm:cxn modelId="{0EC88FE7-0120-4B2F-8777-9E04330E2AD0}" type="presOf" srcId="{0332D363-5838-4801-829D-EE91988A09C1}" destId="{50A38BFD-116D-4A6D-9789-C6CBEB6543A5}" srcOrd="0" destOrd="0" presId="urn:microsoft.com/office/officeart/2005/8/layout/vList2"/>
    <dgm:cxn modelId="{97A5B3FA-A4EC-4333-AD28-88133285A3E9}" srcId="{5FA8CCF2-79FF-47CD-AB0F-207C0863349E}" destId="{0332D363-5838-4801-829D-EE91988A09C1}" srcOrd="0" destOrd="0" parTransId="{14ADAD70-6974-4432-A5A6-AF19B5F713A0}" sibTransId="{EDE25842-9E0C-4A46-A527-0199DDA5744E}"/>
    <dgm:cxn modelId="{32FF42FC-B7BA-4661-AFE4-6665256F4921}" srcId="{5FA8CCF2-79FF-47CD-AB0F-207C0863349E}" destId="{07D9F20E-0484-40F5-90A2-5EEA21416467}" srcOrd="5" destOrd="0" parTransId="{43FBD20E-0255-4FEB-9D96-C96A2D61733F}" sibTransId="{29131E7B-9D16-4E77-AD5B-97CCCE53720E}"/>
    <dgm:cxn modelId="{2C797679-DFA2-4F4D-AA44-0D7AD236A030}" type="presParOf" srcId="{929DB6B8-AA5A-4F25-8A70-9310AC30FA54}" destId="{50A38BFD-116D-4A6D-9789-C6CBEB6543A5}" srcOrd="0" destOrd="0" presId="urn:microsoft.com/office/officeart/2005/8/layout/vList2"/>
    <dgm:cxn modelId="{083F976F-7CE2-4187-88EC-864CF7EF95E2}" type="presParOf" srcId="{929DB6B8-AA5A-4F25-8A70-9310AC30FA54}" destId="{9C498CDA-D8DC-4D52-BD45-4A29821AD4E4}" srcOrd="1" destOrd="0" presId="urn:microsoft.com/office/officeart/2005/8/layout/vList2"/>
    <dgm:cxn modelId="{375A8D87-7272-4FA2-A699-EB978B5F95B5}" type="presParOf" srcId="{929DB6B8-AA5A-4F25-8A70-9310AC30FA54}" destId="{20879D0F-7143-4806-AE34-A2D58F3980CD}" srcOrd="2" destOrd="0" presId="urn:microsoft.com/office/officeart/2005/8/layout/vList2"/>
    <dgm:cxn modelId="{6E16AE38-A6F9-4B98-8144-34FE3DEB273B}" type="presParOf" srcId="{929DB6B8-AA5A-4F25-8A70-9310AC30FA54}" destId="{62D486BE-1996-4FB1-B849-ABDB3D7FACE7}" srcOrd="3" destOrd="0" presId="urn:microsoft.com/office/officeart/2005/8/layout/vList2"/>
    <dgm:cxn modelId="{5BD64B1F-EA88-4B2E-A6CB-877BBD06F9D0}" type="presParOf" srcId="{929DB6B8-AA5A-4F25-8A70-9310AC30FA54}" destId="{844126CA-7B61-4542-BC20-23B3F8A39278}" srcOrd="4" destOrd="0" presId="urn:microsoft.com/office/officeart/2005/8/layout/vList2"/>
    <dgm:cxn modelId="{809363B4-0D1B-40D1-97F7-E844ED8549E3}" type="presParOf" srcId="{929DB6B8-AA5A-4F25-8A70-9310AC30FA54}" destId="{90224C5B-6F93-4A47-A481-D222AE4F83B6}" srcOrd="5" destOrd="0" presId="urn:microsoft.com/office/officeart/2005/8/layout/vList2"/>
    <dgm:cxn modelId="{E8D6FA9B-9D01-4D62-9E57-1F7A8B83AAE2}" type="presParOf" srcId="{929DB6B8-AA5A-4F25-8A70-9310AC30FA54}" destId="{CCF5F136-E85A-43B1-845D-24BB089ED2D6}" srcOrd="6" destOrd="0" presId="urn:microsoft.com/office/officeart/2005/8/layout/vList2"/>
    <dgm:cxn modelId="{7A20B852-111E-4E03-B64A-0FEBF049DEE3}" type="presParOf" srcId="{929DB6B8-AA5A-4F25-8A70-9310AC30FA54}" destId="{627C1F56-FB87-4A48-8A33-A0B4B19271F1}" srcOrd="7" destOrd="0" presId="urn:microsoft.com/office/officeart/2005/8/layout/vList2"/>
    <dgm:cxn modelId="{F00113E3-84E0-464A-92F1-B8E8523348C6}" type="presParOf" srcId="{929DB6B8-AA5A-4F25-8A70-9310AC30FA54}" destId="{2C7BC074-7112-443A-9F17-24C78763DB5A}" srcOrd="8" destOrd="0" presId="urn:microsoft.com/office/officeart/2005/8/layout/vList2"/>
    <dgm:cxn modelId="{0A6F38E5-0E3E-4BB3-A74D-541CF8E1098C}" type="presParOf" srcId="{929DB6B8-AA5A-4F25-8A70-9310AC30FA54}" destId="{6EE3A73C-CFE7-4FC3-A9E8-95DF970DA1DA}" srcOrd="9" destOrd="0" presId="urn:microsoft.com/office/officeart/2005/8/layout/vList2"/>
    <dgm:cxn modelId="{262B77A3-64F8-456B-AAA7-57CE580C7836}" type="presParOf" srcId="{929DB6B8-AA5A-4F25-8A70-9310AC30FA54}" destId="{EAA11B02-B9C5-408B-8EAA-F20A6A3012C9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C353D4B-5C0F-4D91-BC28-D36DB0532B4C}" type="doc">
      <dgm:prSet loTypeId="urn:microsoft.com/office/officeart/2005/8/layout/vList2" loCatId="list" qsTypeId="urn:microsoft.com/office/officeart/2005/8/quickstyle/simple1" qsCatId="simple" csTypeId="urn:microsoft.com/office/officeart/2005/8/colors/accent1_4" csCatId="accent1"/>
      <dgm:spPr/>
      <dgm:t>
        <a:bodyPr/>
        <a:lstStyle/>
        <a:p>
          <a:endParaRPr lang="en-US"/>
        </a:p>
      </dgm:t>
    </dgm:pt>
    <dgm:pt modelId="{52174E48-9F52-4B29-8509-47DEA1BCCD14}">
      <dgm:prSet custT="1"/>
      <dgm:spPr/>
      <dgm:t>
        <a:bodyPr/>
        <a:lstStyle/>
        <a:p>
          <a:r>
            <a:rPr lang="en-IN" sz="1600" b="1"/>
            <a:t>Use Case:</a:t>
          </a:r>
          <a:r>
            <a:rPr lang="en-IN" sz="1600"/>
            <a:t> Continuous improvement projects requiring iterative testing and refinement before full implementation.</a:t>
          </a:r>
          <a:endParaRPr lang="en-US" sz="1600"/>
        </a:p>
      </dgm:t>
    </dgm:pt>
    <dgm:pt modelId="{9DF93D2E-D022-43E8-B75E-D73C538D9EF4}" type="parTrans" cxnId="{5EFDD642-77FF-405D-830D-15A91D0D1A65}">
      <dgm:prSet/>
      <dgm:spPr/>
      <dgm:t>
        <a:bodyPr/>
        <a:lstStyle/>
        <a:p>
          <a:endParaRPr lang="en-US"/>
        </a:p>
      </dgm:t>
    </dgm:pt>
    <dgm:pt modelId="{A2378188-797F-4CC1-A360-9017E12A617C}" type="sibTrans" cxnId="{5EFDD642-77FF-405D-830D-15A91D0D1A65}">
      <dgm:prSet/>
      <dgm:spPr/>
      <dgm:t>
        <a:bodyPr/>
        <a:lstStyle/>
        <a:p>
          <a:endParaRPr lang="en-US"/>
        </a:p>
      </dgm:t>
    </dgm:pt>
    <dgm:pt modelId="{63A80DC8-B657-44CE-B817-610A17EEA2BE}">
      <dgm:prSet custT="1"/>
      <dgm:spPr/>
      <dgm:t>
        <a:bodyPr/>
        <a:lstStyle/>
        <a:p>
          <a:r>
            <a:rPr lang="en-IN" sz="1600" b="1"/>
            <a:t>Example:</a:t>
          </a:r>
          <a:r>
            <a:rPr lang="en-IN" sz="1600"/>
            <a:t> Testing new quality inspection procedure in one production cell before plant-wide rollout.</a:t>
          </a:r>
          <a:endParaRPr lang="en-US" sz="1600"/>
        </a:p>
      </dgm:t>
    </dgm:pt>
    <dgm:pt modelId="{1EE8FDEB-6E1E-49D0-9A69-E2BF8E921E13}" type="parTrans" cxnId="{FF00BB5D-A2EB-42ED-97A7-475E7E2E4196}">
      <dgm:prSet/>
      <dgm:spPr/>
      <dgm:t>
        <a:bodyPr/>
        <a:lstStyle/>
        <a:p>
          <a:endParaRPr lang="en-US"/>
        </a:p>
      </dgm:t>
    </dgm:pt>
    <dgm:pt modelId="{4361B097-9575-4392-A6F0-543B681E1988}" type="sibTrans" cxnId="{FF00BB5D-A2EB-42ED-97A7-475E7E2E4196}">
      <dgm:prSet/>
      <dgm:spPr/>
      <dgm:t>
        <a:bodyPr/>
        <a:lstStyle/>
        <a:p>
          <a:endParaRPr lang="en-US"/>
        </a:p>
      </dgm:t>
    </dgm:pt>
    <dgm:pt modelId="{2774844C-3FAB-4E3E-B07A-9E0CB734D12E}">
      <dgm:prSet custT="1"/>
      <dgm:spPr/>
      <dgm:t>
        <a:bodyPr/>
        <a:lstStyle/>
        <a:p>
          <a:r>
            <a:rPr lang="en-IN" sz="1600"/>
            <a:t>PDCA (Plan-Do-Check-Act) creates systematic improvement through controlled experimentation. </a:t>
          </a:r>
          <a:endParaRPr lang="en-US" sz="1600"/>
        </a:p>
      </dgm:t>
    </dgm:pt>
    <dgm:pt modelId="{AA7FF03F-4D19-4222-9D33-5F0392837247}" type="parTrans" cxnId="{4EDCC8D1-5DB3-43C9-A3AD-8D856060FA0A}">
      <dgm:prSet/>
      <dgm:spPr/>
      <dgm:t>
        <a:bodyPr/>
        <a:lstStyle/>
        <a:p>
          <a:endParaRPr lang="en-US"/>
        </a:p>
      </dgm:t>
    </dgm:pt>
    <dgm:pt modelId="{85A8D99E-9F30-4D20-A75D-3EF1CB3EAB83}" type="sibTrans" cxnId="{4EDCC8D1-5DB3-43C9-A3AD-8D856060FA0A}">
      <dgm:prSet/>
      <dgm:spPr/>
      <dgm:t>
        <a:bodyPr/>
        <a:lstStyle/>
        <a:p>
          <a:endParaRPr lang="en-US"/>
        </a:p>
      </dgm:t>
    </dgm:pt>
    <dgm:pt modelId="{8D56A3F7-AEF6-4517-B662-DC6A8AF6B09C}">
      <dgm:prSet custT="1"/>
      <dgm:spPr/>
      <dgm:t>
        <a:bodyPr/>
        <a:lstStyle/>
        <a:p>
          <a:r>
            <a:rPr lang="en-IN" sz="1600"/>
            <a:t>Small-scale pilots validate solutions before full deployment, reducing implementation risk while building organizational learning.</a:t>
          </a:r>
          <a:endParaRPr lang="en-US" sz="1600"/>
        </a:p>
      </dgm:t>
    </dgm:pt>
    <dgm:pt modelId="{3017BDD4-C2ED-46BF-A069-C3A45959560F}" type="parTrans" cxnId="{6777F5E4-B9DB-41C2-9EC8-65FB1E576784}">
      <dgm:prSet/>
      <dgm:spPr/>
      <dgm:t>
        <a:bodyPr/>
        <a:lstStyle/>
        <a:p>
          <a:endParaRPr lang="en-US"/>
        </a:p>
      </dgm:t>
    </dgm:pt>
    <dgm:pt modelId="{E8F35912-3D27-44B9-A15E-933E32470E93}" type="sibTrans" cxnId="{6777F5E4-B9DB-41C2-9EC8-65FB1E576784}">
      <dgm:prSet/>
      <dgm:spPr/>
      <dgm:t>
        <a:bodyPr/>
        <a:lstStyle/>
        <a:p>
          <a:endParaRPr lang="en-US"/>
        </a:p>
      </dgm:t>
    </dgm:pt>
    <dgm:pt modelId="{9F5B3620-F7CD-4C13-87D1-370D3C5B6FE3}" type="pres">
      <dgm:prSet presAssocID="{EC353D4B-5C0F-4D91-BC28-D36DB0532B4C}" presName="linear" presStyleCnt="0">
        <dgm:presLayoutVars>
          <dgm:animLvl val="lvl"/>
          <dgm:resizeHandles val="exact"/>
        </dgm:presLayoutVars>
      </dgm:prSet>
      <dgm:spPr/>
    </dgm:pt>
    <dgm:pt modelId="{ED6F427A-C860-4F1B-A94A-5ECB1B02EC75}" type="pres">
      <dgm:prSet presAssocID="{52174E48-9F52-4B29-8509-47DEA1BCCD14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23CF40CB-BCB8-4ACA-A58A-3B56B026D2F3}" type="pres">
      <dgm:prSet presAssocID="{A2378188-797F-4CC1-A360-9017E12A617C}" presName="spacer" presStyleCnt="0"/>
      <dgm:spPr/>
    </dgm:pt>
    <dgm:pt modelId="{4E7A4994-B63E-40FA-A69C-FA9C0E2B12A8}" type="pres">
      <dgm:prSet presAssocID="{63A80DC8-B657-44CE-B817-610A17EEA2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2DD5C6FE-F540-4E39-8FA9-BBE5868A6A41}" type="pres">
      <dgm:prSet presAssocID="{4361B097-9575-4392-A6F0-543B681E1988}" presName="spacer" presStyleCnt="0"/>
      <dgm:spPr/>
    </dgm:pt>
    <dgm:pt modelId="{54FDB652-0B51-41C3-8A81-D2B0429A9434}" type="pres">
      <dgm:prSet presAssocID="{2774844C-3FAB-4E3E-B07A-9E0CB734D12E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4CF3200-CCE2-4C07-8602-5B22878F9F5E}" type="pres">
      <dgm:prSet presAssocID="{85A8D99E-9F30-4D20-A75D-3EF1CB3EAB83}" presName="spacer" presStyleCnt="0"/>
      <dgm:spPr/>
    </dgm:pt>
    <dgm:pt modelId="{507B183B-68CF-4F63-82C8-4938A29468F1}" type="pres">
      <dgm:prSet presAssocID="{8D56A3F7-AEF6-4517-B662-DC6A8AF6B09C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505A880F-24E9-4D45-92DA-B51509977739}" type="presOf" srcId="{8D56A3F7-AEF6-4517-B662-DC6A8AF6B09C}" destId="{507B183B-68CF-4F63-82C8-4938A29468F1}" srcOrd="0" destOrd="0" presId="urn:microsoft.com/office/officeart/2005/8/layout/vList2"/>
    <dgm:cxn modelId="{AC676F38-D96F-43EB-9CB8-0DDFE2B8709D}" type="presOf" srcId="{2774844C-3FAB-4E3E-B07A-9E0CB734D12E}" destId="{54FDB652-0B51-41C3-8A81-D2B0429A9434}" srcOrd="0" destOrd="0" presId="urn:microsoft.com/office/officeart/2005/8/layout/vList2"/>
    <dgm:cxn modelId="{31F5365D-D66E-4701-9B0E-E7494FF190DA}" type="presOf" srcId="{52174E48-9F52-4B29-8509-47DEA1BCCD14}" destId="{ED6F427A-C860-4F1B-A94A-5ECB1B02EC75}" srcOrd="0" destOrd="0" presId="urn:microsoft.com/office/officeart/2005/8/layout/vList2"/>
    <dgm:cxn modelId="{FF00BB5D-A2EB-42ED-97A7-475E7E2E4196}" srcId="{EC353D4B-5C0F-4D91-BC28-D36DB0532B4C}" destId="{63A80DC8-B657-44CE-B817-610A17EEA2BE}" srcOrd="1" destOrd="0" parTransId="{1EE8FDEB-6E1E-49D0-9A69-E2BF8E921E13}" sibTransId="{4361B097-9575-4392-A6F0-543B681E1988}"/>
    <dgm:cxn modelId="{5EFDD642-77FF-405D-830D-15A91D0D1A65}" srcId="{EC353D4B-5C0F-4D91-BC28-D36DB0532B4C}" destId="{52174E48-9F52-4B29-8509-47DEA1BCCD14}" srcOrd="0" destOrd="0" parTransId="{9DF93D2E-D022-43E8-B75E-D73C538D9EF4}" sibTransId="{A2378188-797F-4CC1-A360-9017E12A617C}"/>
    <dgm:cxn modelId="{7970E445-A9C5-4031-A680-82A9AC1E076A}" type="presOf" srcId="{63A80DC8-B657-44CE-B817-610A17EEA2BE}" destId="{4E7A4994-B63E-40FA-A69C-FA9C0E2B12A8}" srcOrd="0" destOrd="0" presId="urn:microsoft.com/office/officeart/2005/8/layout/vList2"/>
    <dgm:cxn modelId="{9D402749-08EE-41A9-B01E-A395DDFD4E2A}" type="presOf" srcId="{EC353D4B-5C0F-4D91-BC28-D36DB0532B4C}" destId="{9F5B3620-F7CD-4C13-87D1-370D3C5B6FE3}" srcOrd="0" destOrd="0" presId="urn:microsoft.com/office/officeart/2005/8/layout/vList2"/>
    <dgm:cxn modelId="{4EDCC8D1-5DB3-43C9-A3AD-8D856060FA0A}" srcId="{EC353D4B-5C0F-4D91-BC28-D36DB0532B4C}" destId="{2774844C-3FAB-4E3E-B07A-9E0CB734D12E}" srcOrd="2" destOrd="0" parTransId="{AA7FF03F-4D19-4222-9D33-5F0392837247}" sibTransId="{85A8D99E-9F30-4D20-A75D-3EF1CB3EAB83}"/>
    <dgm:cxn modelId="{6777F5E4-B9DB-41C2-9EC8-65FB1E576784}" srcId="{EC353D4B-5C0F-4D91-BC28-D36DB0532B4C}" destId="{8D56A3F7-AEF6-4517-B662-DC6A8AF6B09C}" srcOrd="3" destOrd="0" parTransId="{3017BDD4-C2ED-46BF-A069-C3A45959560F}" sibTransId="{E8F35912-3D27-44B9-A15E-933E32470E93}"/>
    <dgm:cxn modelId="{EFE7CB49-A744-4D73-A9FE-A87C29D4DFAC}" type="presParOf" srcId="{9F5B3620-F7CD-4C13-87D1-370D3C5B6FE3}" destId="{ED6F427A-C860-4F1B-A94A-5ECB1B02EC75}" srcOrd="0" destOrd="0" presId="urn:microsoft.com/office/officeart/2005/8/layout/vList2"/>
    <dgm:cxn modelId="{B7C56813-F124-4D9D-88C8-FF02531D6384}" type="presParOf" srcId="{9F5B3620-F7CD-4C13-87D1-370D3C5B6FE3}" destId="{23CF40CB-BCB8-4ACA-A58A-3B56B026D2F3}" srcOrd="1" destOrd="0" presId="urn:microsoft.com/office/officeart/2005/8/layout/vList2"/>
    <dgm:cxn modelId="{C0D20D12-C985-4AF5-936E-86AD11898532}" type="presParOf" srcId="{9F5B3620-F7CD-4C13-87D1-370D3C5B6FE3}" destId="{4E7A4994-B63E-40FA-A69C-FA9C0E2B12A8}" srcOrd="2" destOrd="0" presId="urn:microsoft.com/office/officeart/2005/8/layout/vList2"/>
    <dgm:cxn modelId="{B7257E4E-33A8-464C-B90A-6DAE455703A1}" type="presParOf" srcId="{9F5B3620-F7CD-4C13-87D1-370D3C5B6FE3}" destId="{2DD5C6FE-F540-4E39-8FA9-BBE5868A6A41}" srcOrd="3" destOrd="0" presId="urn:microsoft.com/office/officeart/2005/8/layout/vList2"/>
    <dgm:cxn modelId="{725F0378-EF6C-4496-985E-384CC38C0FDA}" type="presParOf" srcId="{9F5B3620-F7CD-4C13-87D1-370D3C5B6FE3}" destId="{54FDB652-0B51-41C3-8A81-D2B0429A9434}" srcOrd="4" destOrd="0" presId="urn:microsoft.com/office/officeart/2005/8/layout/vList2"/>
    <dgm:cxn modelId="{8F718291-6BBA-4478-8CC6-62AA5623E840}" type="presParOf" srcId="{9F5B3620-F7CD-4C13-87D1-370D3C5B6FE3}" destId="{04CF3200-CCE2-4C07-8602-5B22878F9F5E}" srcOrd="5" destOrd="0" presId="urn:microsoft.com/office/officeart/2005/8/layout/vList2"/>
    <dgm:cxn modelId="{C2423686-3C36-44BF-A1F6-EDDF0FB945AC}" type="presParOf" srcId="{9F5B3620-F7CD-4C13-87D1-370D3C5B6FE3}" destId="{507B183B-68CF-4F63-82C8-4938A29468F1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F82D71-74CD-4489-AA54-86D285C5C2C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F3FDA984-B2BA-4B9D-97DA-86C7DB25CCC9}">
      <dgm:prSet/>
      <dgm:spPr/>
      <dgm:t>
        <a:bodyPr/>
        <a:lstStyle/>
        <a:p>
          <a:r>
            <a:rPr lang="en-US" b="0" i="0"/>
            <a:t>Cause analysis tools are helpful tools for conducting a </a:t>
          </a:r>
          <a:r>
            <a:rPr lang="en-US" b="0" i="0">
              <a:hlinkClick xmlns:r="http://schemas.openxmlformats.org/officeDocument/2006/relationships" r:id="rId1"/>
            </a:rPr>
            <a:t>root cause analysis</a:t>
          </a:r>
          <a:r>
            <a:rPr lang="en-US" b="0" i="0"/>
            <a:t> for a problem or situation. They include:</a:t>
          </a:r>
          <a:endParaRPr lang="en-US"/>
        </a:p>
      </dgm:t>
    </dgm:pt>
    <dgm:pt modelId="{5089484C-2FAB-4963-943E-7477035B9728}" type="parTrans" cxnId="{C2B9525B-285A-4AE1-B41E-B83451229C06}">
      <dgm:prSet/>
      <dgm:spPr/>
      <dgm:t>
        <a:bodyPr/>
        <a:lstStyle/>
        <a:p>
          <a:endParaRPr lang="en-GB"/>
        </a:p>
      </dgm:t>
    </dgm:pt>
    <dgm:pt modelId="{D6586228-A030-463F-8085-EEB4BC6A9FEF}" type="sibTrans" cxnId="{C2B9525B-285A-4AE1-B41E-B83451229C06}">
      <dgm:prSet/>
      <dgm:spPr/>
      <dgm:t>
        <a:bodyPr/>
        <a:lstStyle/>
        <a:p>
          <a:endParaRPr lang="en-GB"/>
        </a:p>
      </dgm:t>
    </dgm:pt>
    <dgm:pt modelId="{7168479C-E2DB-49F0-8AD1-3E8B73D2CAD5}">
      <dgm:prSet/>
      <dgm:spPr/>
      <dgm:t>
        <a:bodyPr/>
        <a:lstStyle/>
        <a:p>
          <a:r>
            <a:rPr lang="en-US" b="1" i="0">
              <a:hlinkClick xmlns:r="http://schemas.openxmlformats.org/officeDocument/2006/relationships" r:id="rId2"/>
            </a:rPr>
            <a:t>Fishbone diagram</a:t>
          </a:r>
          <a:r>
            <a:rPr lang="en-US" b="0" i="0"/>
            <a:t>: Identifies many possible causes for an effect or problem and sorts ideas into useful categories.</a:t>
          </a:r>
          <a:endParaRPr lang="en-US"/>
        </a:p>
      </dgm:t>
    </dgm:pt>
    <dgm:pt modelId="{68D2FC9E-05EE-4473-A43A-29FBEA1108E8}" type="parTrans" cxnId="{770D6F17-8AD6-4CC5-BFE4-EB9B1B17C5CB}">
      <dgm:prSet/>
      <dgm:spPr/>
      <dgm:t>
        <a:bodyPr/>
        <a:lstStyle/>
        <a:p>
          <a:endParaRPr lang="en-GB"/>
        </a:p>
      </dgm:t>
    </dgm:pt>
    <dgm:pt modelId="{5DF9D579-0F58-46AF-BFD6-3F59D5147944}" type="sibTrans" cxnId="{770D6F17-8AD6-4CC5-BFE4-EB9B1B17C5CB}">
      <dgm:prSet/>
      <dgm:spPr/>
      <dgm:t>
        <a:bodyPr/>
        <a:lstStyle/>
        <a:p>
          <a:endParaRPr lang="en-GB"/>
        </a:p>
      </dgm:t>
    </dgm:pt>
    <dgm:pt modelId="{C1B82A08-E506-49D6-9EA4-C03DB9D91C8F}">
      <dgm:prSet/>
      <dgm:spPr/>
      <dgm:t>
        <a:bodyPr/>
        <a:lstStyle/>
        <a:p>
          <a:r>
            <a:rPr lang="en-US" b="1" i="0">
              <a:hlinkClick xmlns:r="http://schemas.openxmlformats.org/officeDocument/2006/relationships" r:id="rId3"/>
            </a:rPr>
            <a:t>Pareto chart</a:t>
          </a:r>
          <a:r>
            <a:rPr lang="en-US" b="0" i="0"/>
            <a:t>: Shows on a bar graph which factors are more significant.</a:t>
          </a:r>
          <a:endParaRPr lang="en-US"/>
        </a:p>
      </dgm:t>
    </dgm:pt>
    <dgm:pt modelId="{0A1AB853-2587-4D89-9EB4-277DB1147C77}" type="parTrans" cxnId="{2A58BE90-30E2-4BA7-A382-1658FA221F7D}">
      <dgm:prSet/>
      <dgm:spPr/>
      <dgm:t>
        <a:bodyPr/>
        <a:lstStyle/>
        <a:p>
          <a:endParaRPr lang="en-GB"/>
        </a:p>
      </dgm:t>
    </dgm:pt>
    <dgm:pt modelId="{135FE937-F3E0-4F41-91E3-20A3CB5ED0AB}" type="sibTrans" cxnId="{2A58BE90-30E2-4BA7-A382-1658FA221F7D}">
      <dgm:prSet/>
      <dgm:spPr/>
      <dgm:t>
        <a:bodyPr/>
        <a:lstStyle/>
        <a:p>
          <a:endParaRPr lang="en-GB"/>
        </a:p>
      </dgm:t>
    </dgm:pt>
    <dgm:pt modelId="{DE32D8D3-D080-4AC3-A1F0-23E68E28007B}">
      <dgm:prSet/>
      <dgm:spPr/>
      <dgm:t>
        <a:bodyPr/>
        <a:lstStyle/>
        <a:p>
          <a:r>
            <a:rPr lang="en-US" b="1" i="0">
              <a:hlinkClick xmlns:r="http://schemas.openxmlformats.org/officeDocument/2006/relationships" r:id="rId4"/>
            </a:rPr>
            <a:t>Scatter diagram</a:t>
          </a:r>
          <a:r>
            <a:rPr lang="en-US" b="0" i="0"/>
            <a:t>: Graphs pairs of numerical data, with one variable on each axis, to help you look for a relationship.</a:t>
          </a:r>
          <a:endParaRPr lang="en-US"/>
        </a:p>
      </dgm:t>
    </dgm:pt>
    <dgm:pt modelId="{AAE19D3F-E521-4892-B211-A1E448F441C2}" type="parTrans" cxnId="{CFA130E1-868C-4009-ADB4-52D015AC6759}">
      <dgm:prSet/>
      <dgm:spPr/>
      <dgm:t>
        <a:bodyPr/>
        <a:lstStyle/>
        <a:p>
          <a:endParaRPr lang="en-GB"/>
        </a:p>
      </dgm:t>
    </dgm:pt>
    <dgm:pt modelId="{73F91D76-9A57-40A1-A755-B696C465D02A}" type="sibTrans" cxnId="{CFA130E1-868C-4009-ADB4-52D015AC6759}">
      <dgm:prSet/>
      <dgm:spPr/>
      <dgm:t>
        <a:bodyPr/>
        <a:lstStyle/>
        <a:p>
          <a:endParaRPr lang="en-GB"/>
        </a:p>
      </dgm:t>
    </dgm:pt>
    <dgm:pt modelId="{BA3D4223-16FA-48F2-B231-DF6480FE4F9A}" type="pres">
      <dgm:prSet presAssocID="{F4F82D71-74CD-4489-AA54-86D285C5C2C3}" presName="Name0" presStyleCnt="0">
        <dgm:presLayoutVars>
          <dgm:dir/>
          <dgm:animLvl val="lvl"/>
          <dgm:resizeHandles val="exact"/>
        </dgm:presLayoutVars>
      </dgm:prSet>
      <dgm:spPr/>
    </dgm:pt>
    <dgm:pt modelId="{211EBB69-8327-4367-9E93-640851516D78}" type="pres">
      <dgm:prSet presAssocID="{F3FDA984-B2BA-4B9D-97DA-86C7DB25CCC9}" presName="linNode" presStyleCnt="0"/>
      <dgm:spPr/>
    </dgm:pt>
    <dgm:pt modelId="{18B3CA0A-6A0F-4A93-9A79-01FE6F1F6E8D}" type="pres">
      <dgm:prSet presAssocID="{F3FDA984-B2BA-4B9D-97DA-86C7DB25CCC9}" presName="parentText" presStyleLbl="node1" presStyleIdx="0" presStyleCnt="1" custLinFactNeighborX="-147" custLinFactNeighborY="-711">
        <dgm:presLayoutVars>
          <dgm:chMax val="1"/>
          <dgm:bulletEnabled val="1"/>
        </dgm:presLayoutVars>
      </dgm:prSet>
      <dgm:spPr/>
    </dgm:pt>
    <dgm:pt modelId="{92CF2638-2AFD-4D69-A02C-B5FFD3F7DE23}" type="pres">
      <dgm:prSet presAssocID="{F3FDA984-B2BA-4B9D-97DA-86C7DB25CCC9}" presName="descendantText" presStyleLbl="alignAccFollowNode1" presStyleIdx="0" presStyleCnt="1">
        <dgm:presLayoutVars>
          <dgm:bulletEnabled val="1"/>
        </dgm:presLayoutVars>
      </dgm:prSet>
      <dgm:spPr/>
    </dgm:pt>
  </dgm:ptLst>
  <dgm:cxnLst>
    <dgm:cxn modelId="{770D6F17-8AD6-4CC5-BFE4-EB9B1B17C5CB}" srcId="{F3FDA984-B2BA-4B9D-97DA-86C7DB25CCC9}" destId="{7168479C-E2DB-49F0-8AD1-3E8B73D2CAD5}" srcOrd="0" destOrd="0" parTransId="{68D2FC9E-05EE-4473-A43A-29FBEA1108E8}" sibTransId="{5DF9D579-0F58-46AF-BFD6-3F59D5147944}"/>
    <dgm:cxn modelId="{051E6A28-FA51-4843-BC5B-997753BDF89C}" type="presOf" srcId="{7168479C-E2DB-49F0-8AD1-3E8B73D2CAD5}" destId="{92CF2638-2AFD-4D69-A02C-B5FFD3F7DE23}" srcOrd="0" destOrd="0" presId="urn:microsoft.com/office/officeart/2005/8/layout/vList5"/>
    <dgm:cxn modelId="{5936613E-D30F-4F33-8345-9B263136D690}" type="presOf" srcId="{C1B82A08-E506-49D6-9EA4-C03DB9D91C8F}" destId="{92CF2638-2AFD-4D69-A02C-B5FFD3F7DE23}" srcOrd="0" destOrd="1" presId="urn:microsoft.com/office/officeart/2005/8/layout/vList5"/>
    <dgm:cxn modelId="{C2B9525B-285A-4AE1-B41E-B83451229C06}" srcId="{F4F82D71-74CD-4489-AA54-86D285C5C2C3}" destId="{F3FDA984-B2BA-4B9D-97DA-86C7DB25CCC9}" srcOrd="0" destOrd="0" parTransId="{5089484C-2FAB-4963-943E-7477035B9728}" sibTransId="{D6586228-A030-463F-8085-EEB4BC6A9FEF}"/>
    <dgm:cxn modelId="{55D84459-14A7-41B9-9F27-80957F88DFFE}" type="presOf" srcId="{F4F82D71-74CD-4489-AA54-86D285C5C2C3}" destId="{BA3D4223-16FA-48F2-B231-DF6480FE4F9A}" srcOrd="0" destOrd="0" presId="urn:microsoft.com/office/officeart/2005/8/layout/vList5"/>
    <dgm:cxn modelId="{A954527B-BC55-407A-AF37-8098720D6C59}" type="presOf" srcId="{DE32D8D3-D080-4AC3-A1F0-23E68E28007B}" destId="{92CF2638-2AFD-4D69-A02C-B5FFD3F7DE23}" srcOrd="0" destOrd="2" presId="urn:microsoft.com/office/officeart/2005/8/layout/vList5"/>
    <dgm:cxn modelId="{2A58BE90-30E2-4BA7-A382-1658FA221F7D}" srcId="{F3FDA984-B2BA-4B9D-97DA-86C7DB25CCC9}" destId="{C1B82A08-E506-49D6-9EA4-C03DB9D91C8F}" srcOrd="1" destOrd="0" parTransId="{0A1AB853-2587-4D89-9EB4-277DB1147C77}" sibTransId="{135FE937-F3E0-4F41-91E3-20A3CB5ED0AB}"/>
    <dgm:cxn modelId="{93546495-B4EC-47F9-A0A1-734542306FC3}" type="presOf" srcId="{F3FDA984-B2BA-4B9D-97DA-86C7DB25CCC9}" destId="{18B3CA0A-6A0F-4A93-9A79-01FE6F1F6E8D}" srcOrd="0" destOrd="0" presId="urn:microsoft.com/office/officeart/2005/8/layout/vList5"/>
    <dgm:cxn modelId="{CFA130E1-868C-4009-ADB4-52D015AC6759}" srcId="{F3FDA984-B2BA-4B9D-97DA-86C7DB25CCC9}" destId="{DE32D8D3-D080-4AC3-A1F0-23E68E28007B}" srcOrd="2" destOrd="0" parTransId="{AAE19D3F-E521-4892-B211-A1E448F441C2}" sibTransId="{73F91D76-9A57-40A1-A755-B696C465D02A}"/>
    <dgm:cxn modelId="{269774C7-6C41-49B8-8261-0F4BA1B87FD2}" type="presParOf" srcId="{BA3D4223-16FA-48F2-B231-DF6480FE4F9A}" destId="{211EBB69-8327-4367-9E93-640851516D78}" srcOrd="0" destOrd="0" presId="urn:microsoft.com/office/officeart/2005/8/layout/vList5"/>
    <dgm:cxn modelId="{92CDD611-20A0-4D74-8363-6B7E077C98FC}" type="presParOf" srcId="{211EBB69-8327-4367-9E93-640851516D78}" destId="{18B3CA0A-6A0F-4A93-9A79-01FE6F1F6E8D}" srcOrd="0" destOrd="0" presId="urn:microsoft.com/office/officeart/2005/8/layout/vList5"/>
    <dgm:cxn modelId="{B8FEB765-3ECF-4A6B-BBAE-99BC9AF2E267}" type="presParOf" srcId="{211EBB69-8327-4367-9E93-640851516D78}" destId="{92CF2638-2AFD-4D69-A02C-B5FFD3F7DE2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B1E6D98-66AA-41F1-8824-C49AE061254E}" type="doc">
      <dgm:prSet loTypeId="urn:microsoft.com/office/officeart/2005/8/layout/vList2" loCatId="list" qsTypeId="urn:microsoft.com/office/officeart/2005/8/quickstyle/simple1" qsCatId="simple" csTypeId="urn:microsoft.com/office/officeart/2005/8/colors/accent1_4" csCatId="accent1"/>
      <dgm:spPr/>
      <dgm:t>
        <a:bodyPr/>
        <a:lstStyle/>
        <a:p>
          <a:endParaRPr lang="en-GB"/>
        </a:p>
      </dgm:t>
    </dgm:pt>
    <dgm:pt modelId="{CAB6E7D3-1499-4145-BC6F-5C7B86E8C526}">
      <dgm:prSet/>
      <dgm:spPr/>
      <dgm:t>
        <a:bodyPr/>
        <a:lstStyle/>
        <a:p>
          <a:r>
            <a:rPr lang="en-IN" b="1"/>
            <a:t>Use Case:</a:t>
          </a:r>
          <a:r>
            <a:rPr lang="en-IN"/>
            <a:t> Complex failures requiring multiple investigation techniques to identify true underlying causes.</a:t>
          </a:r>
          <a:endParaRPr lang="en-US"/>
        </a:p>
      </dgm:t>
    </dgm:pt>
    <dgm:pt modelId="{87627568-4470-49F2-9929-D142FC347FEB}" type="parTrans" cxnId="{9E72EF62-3E29-47CC-A15B-40EF76C06C63}">
      <dgm:prSet/>
      <dgm:spPr/>
      <dgm:t>
        <a:bodyPr/>
        <a:lstStyle/>
        <a:p>
          <a:endParaRPr lang="en-GB"/>
        </a:p>
      </dgm:t>
    </dgm:pt>
    <dgm:pt modelId="{8BD48A8F-75D8-4A39-88B9-DB056703E422}" type="sibTrans" cxnId="{9E72EF62-3E29-47CC-A15B-40EF76C06C63}">
      <dgm:prSet/>
      <dgm:spPr/>
      <dgm:t>
        <a:bodyPr/>
        <a:lstStyle/>
        <a:p>
          <a:endParaRPr lang="en-GB"/>
        </a:p>
      </dgm:t>
    </dgm:pt>
    <dgm:pt modelId="{FD2C7660-F6B1-44F1-A509-5C9B37BE9E53}">
      <dgm:prSet/>
      <dgm:spPr/>
      <dgm:t>
        <a:bodyPr/>
        <a:lstStyle/>
        <a:p>
          <a:r>
            <a:rPr lang="en-IN" b="1"/>
            <a:t>Example:</a:t>
          </a:r>
          <a:r>
            <a:rPr lang="en-IN"/>
            <a:t> Product recall investigation combining data analysis, interviews, and testing to find contamination source.</a:t>
          </a:r>
          <a:endParaRPr lang="en-US"/>
        </a:p>
      </dgm:t>
    </dgm:pt>
    <dgm:pt modelId="{00D46F5B-8139-4B44-A871-1876BAE48810}" type="parTrans" cxnId="{3372941E-1688-4325-B5F4-0A28F975AB43}">
      <dgm:prSet/>
      <dgm:spPr/>
      <dgm:t>
        <a:bodyPr/>
        <a:lstStyle/>
        <a:p>
          <a:endParaRPr lang="en-GB"/>
        </a:p>
      </dgm:t>
    </dgm:pt>
    <dgm:pt modelId="{EB0784AD-1DA7-4215-85D7-A468AE402F4F}" type="sibTrans" cxnId="{3372941E-1688-4325-B5F4-0A28F975AB43}">
      <dgm:prSet/>
      <dgm:spPr/>
      <dgm:t>
        <a:bodyPr/>
        <a:lstStyle/>
        <a:p>
          <a:endParaRPr lang="en-GB"/>
        </a:p>
      </dgm:t>
    </dgm:pt>
    <dgm:pt modelId="{C377E964-02A5-4A93-9A97-8D016B0F2960}">
      <dgm:prSet/>
      <dgm:spPr/>
      <dgm:t>
        <a:bodyPr/>
        <a:lstStyle/>
        <a:p>
          <a:r>
            <a:rPr lang="en-IN"/>
            <a:t>RCA employs multiple investigative tools to systematically identify true problem origins. </a:t>
          </a:r>
          <a:endParaRPr lang="en-US"/>
        </a:p>
      </dgm:t>
    </dgm:pt>
    <dgm:pt modelId="{0E405A21-2D69-4D23-827B-4D1D637B4A24}" type="parTrans" cxnId="{FDEEFA41-E421-4518-8447-777975F5FDC5}">
      <dgm:prSet/>
      <dgm:spPr/>
      <dgm:t>
        <a:bodyPr/>
        <a:lstStyle/>
        <a:p>
          <a:endParaRPr lang="en-GB"/>
        </a:p>
      </dgm:t>
    </dgm:pt>
    <dgm:pt modelId="{AE9C4623-E9F0-456A-BAA4-D231A958D819}" type="sibTrans" cxnId="{FDEEFA41-E421-4518-8447-777975F5FDC5}">
      <dgm:prSet/>
      <dgm:spPr/>
      <dgm:t>
        <a:bodyPr/>
        <a:lstStyle/>
        <a:p>
          <a:endParaRPr lang="en-GB"/>
        </a:p>
      </dgm:t>
    </dgm:pt>
    <dgm:pt modelId="{7E09155B-5F6F-4A21-A84D-FC397377679F}">
      <dgm:prSet/>
      <dgm:spPr/>
      <dgm:t>
        <a:bodyPr/>
        <a:lstStyle/>
        <a:p>
          <a:r>
            <a:rPr lang="en-IN"/>
            <a:t>By combining data analysis, process mapping, and cause verification, RCA ensures solutions address fundamental issues rather than symptoms.</a:t>
          </a:r>
          <a:endParaRPr lang="en-US"/>
        </a:p>
      </dgm:t>
    </dgm:pt>
    <dgm:pt modelId="{6D4E1691-5B3B-49F8-89B2-3F04BA76B995}" type="parTrans" cxnId="{945A0624-B1A1-4890-9946-62A363FA0AC2}">
      <dgm:prSet/>
      <dgm:spPr/>
      <dgm:t>
        <a:bodyPr/>
        <a:lstStyle/>
        <a:p>
          <a:endParaRPr lang="en-GB"/>
        </a:p>
      </dgm:t>
    </dgm:pt>
    <dgm:pt modelId="{27707075-A5E6-4FDE-930F-A611122C3DB8}" type="sibTrans" cxnId="{945A0624-B1A1-4890-9946-62A363FA0AC2}">
      <dgm:prSet/>
      <dgm:spPr/>
      <dgm:t>
        <a:bodyPr/>
        <a:lstStyle/>
        <a:p>
          <a:endParaRPr lang="en-GB"/>
        </a:p>
      </dgm:t>
    </dgm:pt>
    <dgm:pt modelId="{ECB4D76E-20D9-4689-B827-82BC0D72C9BC}" type="pres">
      <dgm:prSet presAssocID="{CB1E6D98-66AA-41F1-8824-C49AE061254E}" presName="linear" presStyleCnt="0">
        <dgm:presLayoutVars>
          <dgm:animLvl val="lvl"/>
          <dgm:resizeHandles val="exact"/>
        </dgm:presLayoutVars>
      </dgm:prSet>
      <dgm:spPr/>
    </dgm:pt>
    <dgm:pt modelId="{673B65DB-FB5C-425F-8EDD-E7CD15F12B99}" type="pres">
      <dgm:prSet presAssocID="{CAB6E7D3-1499-4145-BC6F-5C7B86E8C526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F1765BC8-A7BE-4D94-B723-700BC2F94804}" type="pres">
      <dgm:prSet presAssocID="{8BD48A8F-75D8-4A39-88B9-DB056703E422}" presName="spacer" presStyleCnt="0"/>
      <dgm:spPr/>
    </dgm:pt>
    <dgm:pt modelId="{6E535629-F0A5-4493-87B3-8EF223F0D200}" type="pres">
      <dgm:prSet presAssocID="{FD2C7660-F6B1-44F1-A509-5C9B37BE9E53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B3F62D31-05CB-41E3-8617-B8BC4B8052D3}" type="pres">
      <dgm:prSet presAssocID="{EB0784AD-1DA7-4215-85D7-A468AE402F4F}" presName="spacer" presStyleCnt="0"/>
      <dgm:spPr/>
    </dgm:pt>
    <dgm:pt modelId="{C89B3409-3044-4C5A-A991-491B776E8D68}" type="pres">
      <dgm:prSet presAssocID="{C377E964-02A5-4A93-9A97-8D016B0F296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72EDCD92-5651-4372-AED2-477C88A5E0F8}" type="pres">
      <dgm:prSet presAssocID="{AE9C4623-E9F0-456A-BAA4-D231A958D819}" presName="spacer" presStyleCnt="0"/>
      <dgm:spPr/>
    </dgm:pt>
    <dgm:pt modelId="{B116FEC5-49EC-4F26-8DF7-D7EF96CB4096}" type="pres">
      <dgm:prSet presAssocID="{7E09155B-5F6F-4A21-A84D-FC397377679F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3447750C-67FA-4858-876E-BEF88637ED53}" type="presOf" srcId="{C377E964-02A5-4A93-9A97-8D016B0F2960}" destId="{C89B3409-3044-4C5A-A991-491B776E8D68}" srcOrd="0" destOrd="0" presId="urn:microsoft.com/office/officeart/2005/8/layout/vList2"/>
    <dgm:cxn modelId="{3372941E-1688-4325-B5F4-0A28F975AB43}" srcId="{CB1E6D98-66AA-41F1-8824-C49AE061254E}" destId="{FD2C7660-F6B1-44F1-A509-5C9B37BE9E53}" srcOrd="1" destOrd="0" parTransId="{00D46F5B-8139-4B44-A871-1876BAE48810}" sibTransId="{EB0784AD-1DA7-4215-85D7-A468AE402F4F}"/>
    <dgm:cxn modelId="{945A0624-B1A1-4890-9946-62A363FA0AC2}" srcId="{CB1E6D98-66AA-41F1-8824-C49AE061254E}" destId="{7E09155B-5F6F-4A21-A84D-FC397377679F}" srcOrd="3" destOrd="0" parTransId="{6D4E1691-5B3B-49F8-89B2-3F04BA76B995}" sibTransId="{27707075-A5E6-4FDE-930F-A611122C3DB8}"/>
    <dgm:cxn modelId="{6C8EEA29-3203-47B3-B494-87FB3782A775}" type="presOf" srcId="{CAB6E7D3-1499-4145-BC6F-5C7B86E8C526}" destId="{673B65DB-FB5C-425F-8EDD-E7CD15F12B99}" srcOrd="0" destOrd="0" presId="urn:microsoft.com/office/officeart/2005/8/layout/vList2"/>
    <dgm:cxn modelId="{FDEEFA41-E421-4518-8447-777975F5FDC5}" srcId="{CB1E6D98-66AA-41F1-8824-C49AE061254E}" destId="{C377E964-02A5-4A93-9A97-8D016B0F2960}" srcOrd="2" destOrd="0" parTransId="{0E405A21-2D69-4D23-827B-4D1D637B4A24}" sibTransId="{AE9C4623-E9F0-456A-BAA4-D231A958D819}"/>
    <dgm:cxn modelId="{9E72EF62-3E29-47CC-A15B-40EF76C06C63}" srcId="{CB1E6D98-66AA-41F1-8824-C49AE061254E}" destId="{CAB6E7D3-1499-4145-BC6F-5C7B86E8C526}" srcOrd="0" destOrd="0" parTransId="{87627568-4470-49F2-9929-D142FC347FEB}" sibTransId="{8BD48A8F-75D8-4A39-88B9-DB056703E422}"/>
    <dgm:cxn modelId="{34D304BA-9EBB-4441-B1E9-3BFD0AD74D79}" type="presOf" srcId="{FD2C7660-F6B1-44F1-A509-5C9B37BE9E53}" destId="{6E535629-F0A5-4493-87B3-8EF223F0D200}" srcOrd="0" destOrd="0" presId="urn:microsoft.com/office/officeart/2005/8/layout/vList2"/>
    <dgm:cxn modelId="{AB35C3D1-CCFF-49BB-889F-3D8B795F5652}" type="presOf" srcId="{7E09155B-5F6F-4A21-A84D-FC397377679F}" destId="{B116FEC5-49EC-4F26-8DF7-D7EF96CB4096}" srcOrd="0" destOrd="0" presId="urn:microsoft.com/office/officeart/2005/8/layout/vList2"/>
    <dgm:cxn modelId="{1D1028E5-57AD-46AE-9D1F-48004D9297C3}" type="presOf" srcId="{CB1E6D98-66AA-41F1-8824-C49AE061254E}" destId="{ECB4D76E-20D9-4689-B827-82BC0D72C9BC}" srcOrd="0" destOrd="0" presId="urn:microsoft.com/office/officeart/2005/8/layout/vList2"/>
    <dgm:cxn modelId="{9D6F6B54-BD3B-4D18-9695-2E89E16F79D7}" type="presParOf" srcId="{ECB4D76E-20D9-4689-B827-82BC0D72C9BC}" destId="{673B65DB-FB5C-425F-8EDD-E7CD15F12B99}" srcOrd="0" destOrd="0" presId="urn:microsoft.com/office/officeart/2005/8/layout/vList2"/>
    <dgm:cxn modelId="{2AE000F6-8340-4F2A-B115-4358412CC009}" type="presParOf" srcId="{ECB4D76E-20D9-4689-B827-82BC0D72C9BC}" destId="{F1765BC8-A7BE-4D94-B723-700BC2F94804}" srcOrd="1" destOrd="0" presId="urn:microsoft.com/office/officeart/2005/8/layout/vList2"/>
    <dgm:cxn modelId="{4E7A8581-3782-4368-8DBE-91AB2F6A7C34}" type="presParOf" srcId="{ECB4D76E-20D9-4689-B827-82BC0D72C9BC}" destId="{6E535629-F0A5-4493-87B3-8EF223F0D200}" srcOrd="2" destOrd="0" presId="urn:microsoft.com/office/officeart/2005/8/layout/vList2"/>
    <dgm:cxn modelId="{0FAE6E44-21AF-4535-9F7F-1771B8EC0D9B}" type="presParOf" srcId="{ECB4D76E-20D9-4689-B827-82BC0D72C9BC}" destId="{B3F62D31-05CB-41E3-8617-B8BC4B8052D3}" srcOrd="3" destOrd="0" presId="urn:microsoft.com/office/officeart/2005/8/layout/vList2"/>
    <dgm:cxn modelId="{F7272AD8-42F4-454D-8693-F4F0B7BAE864}" type="presParOf" srcId="{ECB4D76E-20D9-4689-B827-82BC0D72C9BC}" destId="{C89B3409-3044-4C5A-A991-491B776E8D68}" srcOrd="4" destOrd="0" presId="urn:microsoft.com/office/officeart/2005/8/layout/vList2"/>
    <dgm:cxn modelId="{99E2245A-5EBB-433D-AB0A-DA9ADD3E5CB2}" type="presParOf" srcId="{ECB4D76E-20D9-4689-B827-82BC0D72C9BC}" destId="{72EDCD92-5651-4372-AED2-477C88A5E0F8}" srcOrd="5" destOrd="0" presId="urn:microsoft.com/office/officeart/2005/8/layout/vList2"/>
    <dgm:cxn modelId="{8CDC6823-FD5E-4A51-8080-90C708B381B3}" type="presParOf" srcId="{ECB4D76E-20D9-4689-B827-82BC0D72C9BC}" destId="{B116FEC5-49EC-4F26-8DF7-D7EF96CB4096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028962F-17D4-4F1E-B10F-3D1D9841FA97}" type="doc">
      <dgm:prSet loTypeId="urn:microsoft.com/office/officeart/2005/8/layout/vList2" loCatId="list" qsTypeId="urn:microsoft.com/office/officeart/2005/8/quickstyle/simple1" qsCatId="simple" csTypeId="urn:microsoft.com/office/officeart/2005/8/colors/accent3_4" csCatId="accent3"/>
      <dgm:spPr/>
      <dgm:t>
        <a:bodyPr/>
        <a:lstStyle/>
        <a:p>
          <a:endParaRPr lang="en-GB"/>
        </a:p>
      </dgm:t>
    </dgm:pt>
    <dgm:pt modelId="{30707C89-18FE-443D-8DC9-301CE4D7D395}">
      <dgm:prSet/>
      <dgm:spPr/>
      <dgm:t>
        <a:bodyPr/>
        <a:lstStyle/>
        <a:p>
          <a:r>
            <a:rPr lang="en-US"/>
            <a:t>It is also called as fishbone diagram or Ishikawa diagram.</a:t>
          </a:r>
        </a:p>
      </dgm:t>
    </dgm:pt>
    <dgm:pt modelId="{09BBCADC-9EDE-43DC-8BF4-46DAE287E720}" type="parTrans" cxnId="{AE2C0C55-B049-47E0-A9FE-D9BE78945063}">
      <dgm:prSet/>
      <dgm:spPr/>
      <dgm:t>
        <a:bodyPr/>
        <a:lstStyle/>
        <a:p>
          <a:endParaRPr lang="en-GB"/>
        </a:p>
      </dgm:t>
    </dgm:pt>
    <dgm:pt modelId="{8DB259DC-2BFC-4ADE-8CD6-298FBCAD0BD2}" type="sibTrans" cxnId="{AE2C0C55-B049-47E0-A9FE-D9BE78945063}">
      <dgm:prSet/>
      <dgm:spPr/>
      <dgm:t>
        <a:bodyPr/>
        <a:lstStyle/>
        <a:p>
          <a:endParaRPr lang="en-GB"/>
        </a:p>
      </dgm:t>
    </dgm:pt>
    <dgm:pt modelId="{8FA38D8C-C9C1-4E1D-8E97-EE0F5C95DB74}">
      <dgm:prSet/>
      <dgm:spPr/>
      <dgm:t>
        <a:bodyPr/>
        <a:lstStyle/>
        <a:p>
          <a:r>
            <a:rPr lang="en-US"/>
            <a:t>It identifies many possible causes for an effect or a problem.</a:t>
          </a:r>
        </a:p>
      </dgm:t>
    </dgm:pt>
    <dgm:pt modelId="{C34F7481-7099-443E-9D71-2CCD74942D4F}" type="parTrans" cxnId="{6917AF26-092D-4E50-A577-4E1934C6AA08}">
      <dgm:prSet/>
      <dgm:spPr/>
      <dgm:t>
        <a:bodyPr/>
        <a:lstStyle/>
        <a:p>
          <a:endParaRPr lang="en-GB"/>
        </a:p>
      </dgm:t>
    </dgm:pt>
    <dgm:pt modelId="{16607EFB-D70C-4597-B40F-5AFD4A2FDA9B}" type="sibTrans" cxnId="{6917AF26-092D-4E50-A577-4E1934C6AA08}">
      <dgm:prSet/>
      <dgm:spPr/>
      <dgm:t>
        <a:bodyPr/>
        <a:lstStyle/>
        <a:p>
          <a:endParaRPr lang="en-GB"/>
        </a:p>
      </dgm:t>
    </dgm:pt>
    <dgm:pt modelId="{C0DDC662-C9CF-4A70-B58A-F9429CA6E1A6}">
      <dgm:prSet/>
      <dgm:spPr/>
      <dgm:t>
        <a:bodyPr/>
        <a:lstStyle/>
        <a:p>
          <a:r>
            <a:rPr lang="en-US"/>
            <a:t>The main purpose is to understand the root cause behind the problem statement.</a:t>
          </a:r>
        </a:p>
      </dgm:t>
    </dgm:pt>
    <dgm:pt modelId="{F3CD26D6-B908-4D08-B940-1A07205B3D75}" type="parTrans" cxnId="{7B73BF2B-61A7-42B3-8800-07E088E5E42F}">
      <dgm:prSet/>
      <dgm:spPr/>
      <dgm:t>
        <a:bodyPr/>
        <a:lstStyle/>
        <a:p>
          <a:endParaRPr lang="en-GB"/>
        </a:p>
      </dgm:t>
    </dgm:pt>
    <dgm:pt modelId="{E975DED6-33A3-4B9C-BD2D-B7822BC3A646}" type="sibTrans" cxnId="{7B73BF2B-61A7-42B3-8800-07E088E5E42F}">
      <dgm:prSet/>
      <dgm:spPr/>
      <dgm:t>
        <a:bodyPr/>
        <a:lstStyle/>
        <a:p>
          <a:endParaRPr lang="en-GB"/>
        </a:p>
      </dgm:t>
    </dgm:pt>
    <dgm:pt modelId="{7C7A3449-853C-4C41-B2D4-DBBBE7E3B752}" type="pres">
      <dgm:prSet presAssocID="{8028962F-17D4-4F1E-B10F-3D1D9841FA97}" presName="linear" presStyleCnt="0">
        <dgm:presLayoutVars>
          <dgm:animLvl val="lvl"/>
          <dgm:resizeHandles val="exact"/>
        </dgm:presLayoutVars>
      </dgm:prSet>
      <dgm:spPr/>
    </dgm:pt>
    <dgm:pt modelId="{7F2B8786-3703-44F9-8084-ABC540864127}" type="pres">
      <dgm:prSet presAssocID="{30707C89-18FE-443D-8DC9-301CE4D7D39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48EBDEA-2796-40BE-AFC0-1C8B801BFB18}" type="pres">
      <dgm:prSet presAssocID="{8DB259DC-2BFC-4ADE-8CD6-298FBCAD0BD2}" presName="spacer" presStyleCnt="0"/>
      <dgm:spPr/>
    </dgm:pt>
    <dgm:pt modelId="{FB73032D-4230-4E59-A7EA-8B89F0186A62}" type="pres">
      <dgm:prSet presAssocID="{8FA38D8C-C9C1-4E1D-8E97-EE0F5C95DB74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B4CCCD2-A14F-4400-A63B-A6AD77858237}" type="pres">
      <dgm:prSet presAssocID="{16607EFB-D70C-4597-B40F-5AFD4A2FDA9B}" presName="spacer" presStyleCnt="0"/>
      <dgm:spPr/>
    </dgm:pt>
    <dgm:pt modelId="{52C9E6AA-9C73-4265-8B37-B1584590BD7C}" type="pres">
      <dgm:prSet presAssocID="{C0DDC662-C9CF-4A70-B58A-F9429CA6E1A6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6917AF26-092D-4E50-A577-4E1934C6AA08}" srcId="{8028962F-17D4-4F1E-B10F-3D1D9841FA97}" destId="{8FA38D8C-C9C1-4E1D-8E97-EE0F5C95DB74}" srcOrd="1" destOrd="0" parTransId="{C34F7481-7099-443E-9D71-2CCD74942D4F}" sibTransId="{16607EFB-D70C-4597-B40F-5AFD4A2FDA9B}"/>
    <dgm:cxn modelId="{7B73BF2B-61A7-42B3-8800-07E088E5E42F}" srcId="{8028962F-17D4-4F1E-B10F-3D1D9841FA97}" destId="{C0DDC662-C9CF-4A70-B58A-F9429CA6E1A6}" srcOrd="2" destOrd="0" parTransId="{F3CD26D6-B908-4D08-B940-1A07205B3D75}" sibTransId="{E975DED6-33A3-4B9C-BD2D-B7822BC3A646}"/>
    <dgm:cxn modelId="{AE2C0C55-B049-47E0-A9FE-D9BE78945063}" srcId="{8028962F-17D4-4F1E-B10F-3D1D9841FA97}" destId="{30707C89-18FE-443D-8DC9-301CE4D7D395}" srcOrd="0" destOrd="0" parTransId="{09BBCADC-9EDE-43DC-8BF4-46DAE287E720}" sibTransId="{8DB259DC-2BFC-4ADE-8CD6-298FBCAD0BD2}"/>
    <dgm:cxn modelId="{51E8759D-CBA4-4820-A306-1D540DBA3CE0}" type="presOf" srcId="{C0DDC662-C9CF-4A70-B58A-F9429CA6E1A6}" destId="{52C9E6AA-9C73-4265-8B37-B1584590BD7C}" srcOrd="0" destOrd="0" presId="urn:microsoft.com/office/officeart/2005/8/layout/vList2"/>
    <dgm:cxn modelId="{58026BB3-3744-40A5-A485-06E13A7C1EAC}" type="presOf" srcId="{8028962F-17D4-4F1E-B10F-3D1D9841FA97}" destId="{7C7A3449-853C-4C41-B2D4-DBBBE7E3B752}" srcOrd="0" destOrd="0" presId="urn:microsoft.com/office/officeart/2005/8/layout/vList2"/>
    <dgm:cxn modelId="{E6E6CAC2-630D-4ECA-9ED4-CDCBD62FF81C}" type="presOf" srcId="{30707C89-18FE-443D-8DC9-301CE4D7D395}" destId="{7F2B8786-3703-44F9-8084-ABC540864127}" srcOrd="0" destOrd="0" presId="urn:microsoft.com/office/officeart/2005/8/layout/vList2"/>
    <dgm:cxn modelId="{3E9E13E6-163D-43B9-BB17-5E9652D1C1D0}" type="presOf" srcId="{8FA38D8C-C9C1-4E1D-8E97-EE0F5C95DB74}" destId="{FB73032D-4230-4E59-A7EA-8B89F0186A62}" srcOrd="0" destOrd="0" presId="urn:microsoft.com/office/officeart/2005/8/layout/vList2"/>
    <dgm:cxn modelId="{98844319-E7B6-4878-8876-99B869840954}" type="presParOf" srcId="{7C7A3449-853C-4C41-B2D4-DBBBE7E3B752}" destId="{7F2B8786-3703-44F9-8084-ABC540864127}" srcOrd="0" destOrd="0" presId="urn:microsoft.com/office/officeart/2005/8/layout/vList2"/>
    <dgm:cxn modelId="{59BC232C-5E3C-4724-8C2B-7CB8244CE6CF}" type="presParOf" srcId="{7C7A3449-853C-4C41-B2D4-DBBBE7E3B752}" destId="{948EBDEA-2796-40BE-AFC0-1C8B801BFB18}" srcOrd="1" destOrd="0" presId="urn:microsoft.com/office/officeart/2005/8/layout/vList2"/>
    <dgm:cxn modelId="{1F425514-7E67-46C1-AD37-D3683B6A3F16}" type="presParOf" srcId="{7C7A3449-853C-4C41-B2D4-DBBBE7E3B752}" destId="{FB73032D-4230-4E59-A7EA-8B89F0186A62}" srcOrd="2" destOrd="0" presId="urn:microsoft.com/office/officeart/2005/8/layout/vList2"/>
    <dgm:cxn modelId="{E2581686-0044-4227-8D21-29A1B0E1220F}" type="presParOf" srcId="{7C7A3449-853C-4C41-B2D4-DBBBE7E3B752}" destId="{5B4CCCD2-A14F-4400-A63B-A6AD77858237}" srcOrd="3" destOrd="0" presId="urn:microsoft.com/office/officeart/2005/8/layout/vList2"/>
    <dgm:cxn modelId="{F2279160-55B6-4149-9178-33C246CD8DDD}" type="presParOf" srcId="{7C7A3449-853C-4C41-B2D4-DBBBE7E3B752}" destId="{52C9E6AA-9C73-4265-8B37-B1584590BD7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526AED6-DE35-4C37-8CA9-E442A1D24FF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4E994CA2-110A-4F04-AEA8-5E5BA9DA1235}">
      <dgm:prSet/>
      <dgm:spPr/>
      <dgm:t>
        <a:bodyPr/>
        <a:lstStyle/>
        <a:p>
          <a:r>
            <a:rPr lang="en-US"/>
            <a:t>When figuring out the possible causes for a problem.</a:t>
          </a:r>
        </a:p>
      </dgm:t>
    </dgm:pt>
    <dgm:pt modelId="{60CAA9EB-5E0A-44D5-8FC5-F697D508F43D}" type="parTrans" cxnId="{E7D48EDF-D398-462B-9E93-4E74014789A4}">
      <dgm:prSet/>
      <dgm:spPr/>
      <dgm:t>
        <a:bodyPr/>
        <a:lstStyle/>
        <a:p>
          <a:endParaRPr lang="en-GB"/>
        </a:p>
      </dgm:t>
    </dgm:pt>
    <dgm:pt modelId="{C0850B6F-95BD-4574-91EC-E982E2F4355B}" type="sibTrans" cxnId="{E7D48EDF-D398-462B-9E93-4E74014789A4}">
      <dgm:prSet/>
      <dgm:spPr/>
      <dgm:t>
        <a:bodyPr/>
        <a:lstStyle/>
        <a:p>
          <a:endParaRPr lang="en-GB"/>
        </a:p>
      </dgm:t>
    </dgm:pt>
    <dgm:pt modelId="{0B0B33D8-47B2-4C9F-8999-00116F940C86}">
      <dgm:prSet/>
      <dgm:spPr/>
      <dgm:t>
        <a:bodyPr/>
        <a:lstStyle/>
        <a:p>
          <a:r>
            <a:rPr lang="en-US"/>
            <a:t>When a team’s thinking tends to fall.</a:t>
          </a:r>
        </a:p>
      </dgm:t>
    </dgm:pt>
    <dgm:pt modelId="{77CF478A-FC4A-45CF-8B19-77B26D82E7D9}" type="parTrans" cxnId="{5721EBA1-F7B5-40B5-AB30-FBE8E351584C}">
      <dgm:prSet/>
      <dgm:spPr/>
      <dgm:t>
        <a:bodyPr/>
        <a:lstStyle/>
        <a:p>
          <a:endParaRPr lang="en-GB"/>
        </a:p>
      </dgm:t>
    </dgm:pt>
    <dgm:pt modelId="{32256E8B-A26C-472F-AB41-C5535B8319CD}" type="sibTrans" cxnId="{5721EBA1-F7B5-40B5-AB30-FBE8E351584C}">
      <dgm:prSet/>
      <dgm:spPr/>
      <dgm:t>
        <a:bodyPr/>
        <a:lstStyle/>
        <a:p>
          <a:endParaRPr lang="en-GB"/>
        </a:p>
      </dgm:t>
    </dgm:pt>
    <dgm:pt modelId="{9A7FA10D-2804-4D66-8E59-775784AF3219}" type="pres">
      <dgm:prSet presAssocID="{5526AED6-DE35-4C37-8CA9-E442A1D24FF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D25F1F0-3FF9-4AE5-A0CD-7C5B0C529023}" type="pres">
      <dgm:prSet presAssocID="{4E994CA2-110A-4F04-AEA8-5E5BA9DA1235}" presName="hierRoot1" presStyleCnt="0"/>
      <dgm:spPr/>
    </dgm:pt>
    <dgm:pt modelId="{AE127476-8FEC-4520-972C-533EC2A67174}" type="pres">
      <dgm:prSet presAssocID="{4E994CA2-110A-4F04-AEA8-5E5BA9DA1235}" presName="composite" presStyleCnt="0"/>
      <dgm:spPr/>
    </dgm:pt>
    <dgm:pt modelId="{4C40FD21-3BE9-4905-A14F-37DBD8EDBEB2}" type="pres">
      <dgm:prSet presAssocID="{4E994CA2-110A-4F04-AEA8-5E5BA9DA1235}" presName="background" presStyleLbl="node0" presStyleIdx="0" presStyleCnt="2"/>
      <dgm:spPr/>
    </dgm:pt>
    <dgm:pt modelId="{BE2BEF66-80AB-4C3D-853B-0C326BFA7F20}" type="pres">
      <dgm:prSet presAssocID="{4E994CA2-110A-4F04-AEA8-5E5BA9DA1235}" presName="text" presStyleLbl="fgAcc0" presStyleIdx="0" presStyleCnt="2">
        <dgm:presLayoutVars>
          <dgm:chPref val="3"/>
        </dgm:presLayoutVars>
      </dgm:prSet>
      <dgm:spPr/>
    </dgm:pt>
    <dgm:pt modelId="{757E04A7-659C-4A2D-B38F-CF96153935F2}" type="pres">
      <dgm:prSet presAssocID="{4E994CA2-110A-4F04-AEA8-5E5BA9DA1235}" presName="hierChild2" presStyleCnt="0"/>
      <dgm:spPr/>
    </dgm:pt>
    <dgm:pt modelId="{29B2771F-8811-4CD2-B7C8-7EB39A7AA1AF}" type="pres">
      <dgm:prSet presAssocID="{0B0B33D8-47B2-4C9F-8999-00116F940C86}" presName="hierRoot1" presStyleCnt="0"/>
      <dgm:spPr/>
    </dgm:pt>
    <dgm:pt modelId="{1306C837-C915-4B92-A5EE-F45441D9E28A}" type="pres">
      <dgm:prSet presAssocID="{0B0B33D8-47B2-4C9F-8999-00116F940C86}" presName="composite" presStyleCnt="0"/>
      <dgm:spPr/>
    </dgm:pt>
    <dgm:pt modelId="{F075706C-612A-4564-89F3-C8C11CFE652B}" type="pres">
      <dgm:prSet presAssocID="{0B0B33D8-47B2-4C9F-8999-00116F940C86}" presName="background" presStyleLbl="node0" presStyleIdx="1" presStyleCnt="2"/>
      <dgm:spPr/>
    </dgm:pt>
    <dgm:pt modelId="{B8341014-BEB5-4885-A750-C5191DA416F0}" type="pres">
      <dgm:prSet presAssocID="{0B0B33D8-47B2-4C9F-8999-00116F940C86}" presName="text" presStyleLbl="fgAcc0" presStyleIdx="1" presStyleCnt="2">
        <dgm:presLayoutVars>
          <dgm:chPref val="3"/>
        </dgm:presLayoutVars>
      </dgm:prSet>
      <dgm:spPr/>
    </dgm:pt>
    <dgm:pt modelId="{1FBBC38A-A847-42DA-9A62-541D36D445C0}" type="pres">
      <dgm:prSet presAssocID="{0B0B33D8-47B2-4C9F-8999-00116F940C86}" presName="hierChild2" presStyleCnt="0"/>
      <dgm:spPr/>
    </dgm:pt>
  </dgm:ptLst>
  <dgm:cxnLst>
    <dgm:cxn modelId="{2EBB7590-4218-4D1D-A72D-DB68C735AD0B}" type="presOf" srcId="{0B0B33D8-47B2-4C9F-8999-00116F940C86}" destId="{B8341014-BEB5-4885-A750-C5191DA416F0}" srcOrd="0" destOrd="0" presId="urn:microsoft.com/office/officeart/2005/8/layout/hierarchy1"/>
    <dgm:cxn modelId="{5721EBA1-F7B5-40B5-AB30-FBE8E351584C}" srcId="{5526AED6-DE35-4C37-8CA9-E442A1D24FFE}" destId="{0B0B33D8-47B2-4C9F-8999-00116F940C86}" srcOrd="1" destOrd="0" parTransId="{77CF478A-FC4A-45CF-8B19-77B26D82E7D9}" sibTransId="{32256E8B-A26C-472F-AB41-C5535B8319CD}"/>
    <dgm:cxn modelId="{131098A2-F910-4BEB-BC7D-7C872CFBBF8F}" type="presOf" srcId="{5526AED6-DE35-4C37-8CA9-E442A1D24FFE}" destId="{9A7FA10D-2804-4D66-8E59-775784AF3219}" srcOrd="0" destOrd="0" presId="urn:microsoft.com/office/officeart/2005/8/layout/hierarchy1"/>
    <dgm:cxn modelId="{3D278DDE-66E8-423B-AA64-C8A32655D957}" type="presOf" srcId="{4E994CA2-110A-4F04-AEA8-5E5BA9DA1235}" destId="{BE2BEF66-80AB-4C3D-853B-0C326BFA7F20}" srcOrd="0" destOrd="0" presId="urn:microsoft.com/office/officeart/2005/8/layout/hierarchy1"/>
    <dgm:cxn modelId="{E7D48EDF-D398-462B-9E93-4E74014789A4}" srcId="{5526AED6-DE35-4C37-8CA9-E442A1D24FFE}" destId="{4E994CA2-110A-4F04-AEA8-5E5BA9DA1235}" srcOrd="0" destOrd="0" parTransId="{60CAA9EB-5E0A-44D5-8FC5-F697D508F43D}" sibTransId="{C0850B6F-95BD-4574-91EC-E982E2F4355B}"/>
    <dgm:cxn modelId="{A8543808-41BC-48BB-BB32-830C930A3511}" type="presParOf" srcId="{9A7FA10D-2804-4D66-8E59-775784AF3219}" destId="{6D25F1F0-3FF9-4AE5-A0CD-7C5B0C529023}" srcOrd="0" destOrd="0" presId="urn:microsoft.com/office/officeart/2005/8/layout/hierarchy1"/>
    <dgm:cxn modelId="{E60497F5-78CA-4E3F-9E21-395DCB7FC100}" type="presParOf" srcId="{6D25F1F0-3FF9-4AE5-A0CD-7C5B0C529023}" destId="{AE127476-8FEC-4520-972C-533EC2A67174}" srcOrd="0" destOrd="0" presId="urn:microsoft.com/office/officeart/2005/8/layout/hierarchy1"/>
    <dgm:cxn modelId="{340E33A6-C4AA-4150-B9B1-B3F4D8C2225B}" type="presParOf" srcId="{AE127476-8FEC-4520-972C-533EC2A67174}" destId="{4C40FD21-3BE9-4905-A14F-37DBD8EDBEB2}" srcOrd="0" destOrd="0" presId="urn:microsoft.com/office/officeart/2005/8/layout/hierarchy1"/>
    <dgm:cxn modelId="{AAD42A09-06D4-49A6-86FC-7E50A12740BE}" type="presParOf" srcId="{AE127476-8FEC-4520-972C-533EC2A67174}" destId="{BE2BEF66-80AB-4C3D-853B-0C326BFA7F20}" srcOrd="1" destOrd="0" presId="urn:microsoft.com/office/officeart/2005/8/layout/hierarchy1"/>
    <dgm:cxn modelId="{CD021CE7-23E8-4ADD-B145-BB8217323F43}" type="presParOf" srcId="{6D25F1F0-3FF9-4AE5-A0CD-7C5B0C529023}" destId="{757E04A7-659C-4A2D-B38F-CF96153935F2}" srcOrd="1" destOrd="0" presId="urn:microsoft.com/office/officeart/2005/8/layout/hierarchy1"/>
    <dgm:cxn modelId="{F781D0B4-0C39-425B-BA07-D737D579AAA9}" type="presParOf" srcId="{9A7FA10D-2804-4D66-8E59-775784AF3219}" destId="{29B2771F-8811-4CD2-B7C8-7EB39A7AA1AF}" srcOrd="1" destOrd="0" presId="urn:microsoft.com/office/officeart/2005/8/layout/hierarchy1"/>
    <dgm:cxn modelId="{400D2A21-A4DE-479D-983A-E238CAD24996}" type="presParOf" srcId="{29B2771F-8811-4CD2-B7C8-7EB39A7AA1AF}" destId="{1306C837-C915-4B92-A5EE-F45441D9E28A}" srcOrd="0" destOrd="0" presId="urn:microsoft.com/office/officeart/2005/8/layout/hierarchy1"/>
    <dgm:cxn modelId="{31784A74-7720-46FA-8E19-5CB13EDB4DBB}" type="presParOf" srcId="{1306C837-C915-4B92-A5EE-F45441D9E28A}" destId="{F075706C-612A-4564-89F3-C8C11CFE652B}" srcOrd="0" destOrd="0" presId="urn:microsoft.com/office/officeart/2005/8/layout/hierarchy1"/>
    <dgm:cxn modelId="{BB5000E4-EA09-4E74-AE9B-91525E83C99B}" type="presParOf" srcId="{1306C837-C915-4B92-A5EE-F45441D9E28A}" destId="{B8341014-BEB5-4885-A750-C5191DA416F0}" srcOrd="1" destOrd="0" presId="urn:microsoft.com/office/officeart/2005/8/layout/hierarchy1"/>
    <dgm:cxn modelId="{D63C75F2-C9E1-4376-9A97-9E3BF0E69DFE}" type="presParOf" srcId="{29B2771F-8811-4CD2-B7C8-7EB39A7AA1AF}" destId="{1FBBC38A-A847-42DA-9A62-541D36D445C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9C87497-E7BD-48E7-A383-BBF44B51ED79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F6B8FC66-19C2-47E5-BF75-DD6062914870}">
      <dgm:prSet/>
      <dgm:spPr/>
      <dgm:t>
        <a:bodyPr/>
        <a:lstStyle/>
        <a:p>
          <a:r>
            <a:rPr lang="en-US"/>
            <a:t>Use Case:</a:t>
          </a:r>
        </a:p>
      </dgm:t>
    </dgm:pt>
    <dgm:pt modelId="{00B45E1C-1C78-41F3-8118-5A34C2DBE709}" type="parTrans" cxnId="{15CB7641-10C9-4271-809A-D81006334F7E}">
      <dgm:prSet/>
      <dgm:spPr/>
      <dgm:t>
        <a:bodyPr/>
        <a:lstStyle/>
        <a:p>
          <a:endParaRPr lang="en-GB"/>
        </a:p>
      </dgm:t>
    </dgm:pt>
    <dgm:pt modelId="{A430D572-A3A2-4D28-8F4A-FE82D309C97C}" type="sibTrans" cxnId="{15CB7641-10C9-4271-809A-D81006334F7E}">
      <dgm:prSet/>
      <dgm:spPr/>
      <dgm:t>
        <a:bodyPr/>
        <a:lstStyle/>
        <a:p>
          <a:endParaRPr lang="en-GB"/>
        </a:p>
      </dgm:t>
    </dgm:pt>
    <dgm:pt modelId="{C5E65A04-A002-4A41-A57C-A2786D313476}" type="pres">
      <dgm:prSet presAssocID="{09C87497-E7BD-48E7-A383-BBF44B51ED79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D1AE7C3C-CAFE-4BC0-A149-440FC90BDD05}" type="pres">
      <dgm:prSet presAssocID="{F6B8FC66-19C2-47E5-BF75-DD6062914870}" presName="circle1" presStyleLbl="node1" presStyleIdx="0" presStyleCnt="1"/>
      <dgm:spPr/>
    </dgm:pt>
    <dgm:pt modelId="{39DB3A15-8EB9-4266-8902-FA49506A783F}" type="pres">
      <dgm:prSet presAssocID="{F6B8FC66-19C2-47E5-BF75-DD6062914870}" presName="space" presStyleCnt="0"/>
      <dgm:spPr/>
    </dgm:pt>
    <dgm:pt modelId="{0D941A0A-9B9E-4E3B-A3C0-D20AF28057C1}" type="pres">
      <dgm:prSet presAssocID="{F6B8FC66-19C2-47E5-BF75-DD6062914870}" presName="rect1" presStyleLbl="alignAcc1" presStyleIdx="0" presStyleCnt="1" custLinFactY="-250127" custLinFactNeighborX="3005" custLinFactNeighborY="-300000"/>
      <dgm:spPr/>
    </dgm:pt>
    <dgm:pt modelId="{165F6C13-3F9B-4581-84EB-724DBCD68633}" type="pres">
      <dgm:prSet presAssocID="{F6B8FC66-19C2-47E5-BF75-DD6062914870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94592B11-BEC3-442E-9583-36BC936B56B1}" type="presOf" srcId="{09C87497-E7BD-48E7-A383-BBF44B51ED79}" destId="{C5E65A04-A002-4A41-A57C-A2786D313476}" srcOrd="0" destOrd="0" presId="urn:microsoft.com/office/officeart/2005/8/layout/target3"/>
    <dgm:cxn modelId="{15CB7641-10C9-4271-809A-D81006334F7E}" srcId="{09C87497-E7BD-48E7-A383-BBF44B51ED79}" destId="{F6B8FC66-19C2-47E5-BF75-DD6062914870}" srcOrd="0" destOrd="0" parTransId="{00B45E1C-1C78-41F3-8118-5A34C2DBE709}" sibTransId="{A430D572-A3A2-4D28-8F4A-FE82D309C97C}"/>
    <dgm:cxn modelId="{BF7C2D4A-6E90-44C8-9085-82D131CAD47D}" type="presOf" srcId="{F6B8FC66-19C2-47E5-BF75-DD6062914870}" destId="{165F6C13-3F9B-4581-84EB-724DBCD68633}" srcOrd="1" destOrd="0" presId="urn:microsoft.com/office/officeart/2005/8/layout/target3"/>
    <dgm:cxn modelId="{EFE56A58-783B-40B9-9E0B-1D40C364A57B}" type="presOf" srcId="{F6B8FC66-19C2-47E5-BF75-DD6062914870}" destId="{0D941A0A-9B9E-4E3B-A3C0-D20AF28057C1}" srcOrd="0" destOrd="0" presId="urn:microsoft.com/office/officeart/2005/8/layout/target3"/>
    <dgm:cxn modelId="{2E1BF1ED-2ECD-494F-BD65-5D30672A545D}" type="presParOf" srcId="{C5E65A04-A002-4A41-A57C-A2786D313476}" destId="{D1AE7C3C-CAFE-4BC0-A149-440FC90BDD05}" srcOrd="0" destOrd="0" presId="urn:microsoft.com/office/officeart/2005/8/layout/target3"/>
    <dgm:cxn modelId="{03932E44-869D-4D31-B926-1BDB411478EB}" type="presParOf" srcId="{C5E65A04-A002-4A41-A57C-A2786D313476}" destId="{39DB3A15-8EB9-4266-8902-FA49506A783F}" srcOrd="1" destOrd="0" presId="urn:microsoft.com/office/officeart/2005/8/layout/target3"/>
    <dgm:cxn modelId="{E196E4AD-C821-4E93-9BF1-92D04F319DA2}" type="presParOf" srcId="{C5E65A04-A002-4A41-A57C-A2786D313476}" destId="{0D941A0A-9B9E-4E3B-A3C0-D20AF28057C1}" srcOrd="2" destOrd="0" presId="urn:microsoft.com/office/officeart/2005/8/layout/target3"/>
    <dgm:cxn modelId="{39C877AB-84AF-4734-859C-E2AFD68FE750}" type="presParOf" srcId="{C5E65A04-A002-4A41-A57C-A2786D313476}" destId="{165F6C13-3F9B-4581-84EB-724DBCD68633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1E58D60-D218-4BEA-BA88-8DB7E54A0B6E}" type="doc">
      <dgm:prSet loTypeId="urn:microsoft.com/office/officeart/2005/8/layout/vList2" loCatId="list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en-GB"/>
        </a:p>
      </dgm:t>
    </dgm:pt>
    <dgm:pt modelId="{310A9B40-9328-4694-97F5-294C8E733668}">
      <dgm:prSet custT="1"/>
      <dgm:spPr/>
      <dgm:t>
        <a:bodyPr/>
        <a:lstStyle/>
        <a:p>
          <a:r>
            <a:rPr lang="en-US" sz="1400" dirty="0"/>
            <a:t>It enhances organizational efficiency.</a:t>
          </a:r>
          <a:endParaRPr lang="en-US" sz="2400" dirty="0"/>
        </a:p>
      </dgm:t>
    </dgm:pt>
    <dgm:pt modelId="{1144D90C-354E-4A00-A779-3C6DB100158A}" type="parTrans" cxnId="{53914774-3005-4103-BC7A-FBA345895366}">
      <dgm:prSet/>
      <dgm:spPr/>
      <dgm:t>
        <a:bodyPr/>
        <a:lstStyle/>
        <a:p>
          <a:endParaRPr lang="en-GB"/>
        </a:p>
      </dgm:t>
    </dgm:pt>
    <dgm:pt modelId="{46B1D56B-6B96-419F-8594-1DE6523F6AFF}" type="sibTrans" cxnId="{53914774-3005-4103-BC7A-FBA345895366}">
      <dgm:prSet/>
      <dgm:spPr/>
      <dgm:t>
        <a:bodyPr/>
        <a:lstStyle/>
        <a:p>
          <a:endParaRPr lang="en-GB"/>
        </a:p>
      </dgm:t>
    </dgm:pt>
    <dgm:pt modelId="{E2166253-036B-4F87-BD42-3A2C43D58AAE}">
      <dgm:prSet custT="1"/>
      <dgm:spPr/>
      <dgm:t>
        <a:bodyPr/>
        <a:lstStyle/>
        <a:p>
          <a:r>
            <a:rPr lang="en-US" sz="1400"/>
            <a:t>It helps to determine the most significant causes of a problem.</a:t>
          </a:r>
        </a:p>
      </dgm:t>
    </dgm:pt>
    <dgm:pt modelId="{0DE3D7F7-3E02-4434-A6EB-C35FB18EC9CD}" type="parTrans" cxnId="{BCEAE3A1-2D60-44C6-842A-46B5E28CA317}">
      <dgm:prSet/>
      <dgm:spPr/>
      <dgm:t>
        <a:bodyPr/>
        <a:lstStyle/>
        <a:p>
          <a:endParaRPr lang="en-GB"/>
        </a:p>
      </dgm:t>
    </dgm:pt>
    <dgm:pt modelId="{21C07A29-4585-47AF-AEA5-C3DD896C8B7A}" type="sibTrans" cxnId="{BCEAE3A1-2D60-44C6-842A-46B5E28CA317}">
      <dgm:prSet/>
      <dgm:spPr/>
      <dgm:t>
        <a:bodyPr/>
        <a:lstStyle/>
        <a:p>
          <a:endParaRPr lang="en-GB"/>
        </a:p>
      </dgm:t>
    </dgm:pt>
    <dgm:pt modelId="{227C98D8-586C-439E-A10C-4840FF3B0EE0}">
      <dgm:prSet custT="1"/>
      <dgm:spPr/>
      <dgm:t>
        <a:bodyPr/>
        <a:lstStyle/>
        <a:p>
          <a:r>
            <a:rPr lang="en-US" sz="1400"/>
            <a:t>It enhances problem-solving skills.</a:t>
          </a:r>
        </a:p>
      </dgm:t>
    </dgm:pt>
    <dgm:pt modelId="{B27EDDDA-F564-487C-AD44-EC46D42F9CB2}" type="parTrans" cxnId="{675F0892-8827-49DD-B209-A320FE8E32B5}">
      <dgm:prSet/>
      <dgm:spPr/>
      <dgm:t>
        <a:bodyPr/>
        <a:lstStyle/>
        <a:p>
          <a:endParaRPr lang="en-GB"/>
        </a:p>
      </dgm:t>
    </dgm:pt>
    <dgm:pt modelId="{490BB76C-339D-4C2A-BBF3-ABC7645425E8}" type="sibTrans" cxnId="{675F0892-8827-49DD-B209-A320FE8E32B5}">
      <dgm:prSet/>
      <dgm:spPr/>
      <dgm:t>
        <a:bodyPr/>
        <a:lstStyle/>
        <a:p>
          <a:endParaRPr lang="en-GB"/>
        </a:p>
      </dgm:t>
    </dgm:pt>
    <dgm:pt modelId="{54BA8842-5B43-4233-9F69-9D9640BB602A}">
      <dgm:prSet custT="1"/>
      <dgm:spPr/>
      <dgm:t>
        <a:bodyPr/>
        <a:lstStyle/>
        <a:p>
          <a:r>
            <a:rPr lang="en-US" sz="1400"/>
            <a:t>It improves decision making within the organization.</a:t>
          </a:r>
        </a:p>
      </dgm:t>
    </dgm:pt>
    <dgm:pt modelId="{9E557A4B-ABB8-4A0D-80FC-18EA07E75823}" type="parTrans" cxnId="{45AAADDB-015E-4CC5-8C4F-FAA61D0676CE}">
      <dgm:prSet/>
      <dgm:spPr/>
      <dgm:t>
        <a:bodyPr/>
        <a:lstStyle/>
        <a:p>
          <a:endParaRPr lang="en-GB"/>
        </a:p>
      </dgm:t>
    </dgm:pt>
    <dgm:pt modelId="{6EF3E55B-329F-44D7-A5E9-2D0ADEBB7A80}" type="sibTrans" cxnId="{45AAADDB-015E-4CC5-8C4F-FAA61D0676CE}">
      <dgm:prSet/>
      <dgm:spPr/>
      <dgm:t>
        <a:bodyPr/>
        <a:lstStyle/>
        <a:p>
          <a:endParaRPr lang="en-GB"/>
        </a:p>
      </dgm:t>
    </dgm:pt>
    <dgm:pt modelId="{E62FAA79-C3C3-43B2-9DDD-9987F1A94638}" type="pres">
      <dgm:prSet presAssocID="{11E58D60-D218-4BEA-BA88-8DB7E54A0B6E}" presName="linear" presStyleCnt="0">
        <dgm:presLayoutVars>
          <dgm:animLvl val="lvl"/>
          <dgm:resizeHandles val="exact"/>
        </dgm:presLayoutVars>
      </dgm:prSet>
      <dgm:spPr/>
    </dgm:pt>
    <dgm:pt modelId="{AAAA6B02-AEF9-40EC-A3D4-C1AF382A510C}" type="pres">
      <dgm:prSet presAssocID="{310A9B40-9328-4694-97F5-294C8E733668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78BF20BB-C7B2-44B5-944F-8870D0054D0B}" type="pres">
      <dgm:prSet presAssocID="{46B1D56B-6B96-419F-8594-1DE6523F6AFF}" presName="spacer" presStyleCnt="0"/>
      <dgm:spPr/>
    </dgm:pt>
    <dgm:pt modelId="{FE29F0B2-0B2A-4CB3-80FB-AEF539556C50}" type="pres">
      <dgm:prSet presAssocID="{E2166253-036B-4F87-BD42-3A2C43D58AA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59C54E5A-785F-4932-925E-933A35774344}" type="pres">
      <dgm:prSet presAssocID="{21C07A29-4585-47AF-AEA5-C3DD896C8B7A}" presName="spacer" presStyleCnt="0"/>
      <dgm:spPr/>
    </dgm:pt>
    <dgm:pt modelId="{FE4F9F23-5D9D-493F-AA4C-BFA4E4D1DF72}" type="pres">
      <dgm:prSet presAssocID="{227C98D8-586C-439E-A10C-4840FF3B0EE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ABA39FF-F705-4A05-9811-1D8DD1A84209}" type="pres">
      <dgm:prSet presAssocID="{490BB76C-339D-4C2A-BBF3-ABC7645425E8}" presName="spacer" presStyleCnt="0"/>
      <dgm:spPr/>
    </dgm:pt>
    <dgm:pt modelId="{74DAAC69-0F02-4CF2-B503-9800C07FB029}" type="pres">
      <dgm:prSet presAssocID="{54BA8842-5B43-4233-9F69-9D9640BB602A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82500563-D760-40D9-9CF8-6D0470D02268}" type="presOf" srcId="{11E58D60-D218-4BEA-BA88-8DB7E54A0B6E}" destId="{E62FAA79-C3C3-43B2-9DDD-9987F1A94638}" srcOrd="0" destOrd="0" presId="urn:microsoft.com/office/officeart/2005/8/layout/vList2"/>
    <dgm:cxn modelId="{53914774-3005-4103-BC7A-FBA345895366}" srcId="{11E58D60-D218-4BEA-BA88-8DB7E54A0B6E}" destId="{310A9B40-9328-4694-97F5-294C8E733668}" srcOrd="0" destOrd="0" parTransId="{1144D90C-354E-4A00-A779-3C6DB100158A}" sibTransId="{46B1D56B-6B96-419F-8594-1DE6523F6AFF}"/>
    <dgm:cxn modelId="{783D9D54-7D7C-449C-9F7E-688FA188DCA8}" type="presOf" srcId="{E2166253-036B-4F87-BD42-3A2C43D58AAE}" destId="{FE29F0B2-0B2A-4CB3-80FB-AEF539556C50}" srcOrd="0" destOrd="0" presId="urn:microsoft.com/office/officeart/2005/8/layout/vList2"/>
    <dgm:cxn modelId="{7DB9BE87-E6CF-4D50-872C-78E3B2066867}" type="presOf" srcId="{54BA8842-5B43-4233-9F69-9D9640BB602A}" destId="{74DAAC69-0F02-4CF2-B503-9800C07FB029}" srcOrd="0" destOrd="0" presId="urn:microsoft.com/office/officeart/2005/8/layout/vList2"/>
    <dgm:cxn modelId="{675F0892-8827-49DD-B209-A320FE8E32B5}" srcId="{11E58D60-D218-4BEA-BA88-8DB7E54A0B6E}" destId="{227C98D8-586C-439E-A10C-4840FF3B0EE0}" srcOrd="2" destOrd="0" parTransId="{B27EDDDA-F564-487C-AD44-EC46D42F9CB2}" sibTransId="{490BB76C-339D-4C2A-BBF3-ABC7645425E8}"/>
    <dgm:cxn modelId="{BCEAE3A1-2D60-44C6-842A-46B5E28CA317}" srcId="{11E58D60-D218-4BEA-BA88-8DB7E54A0B6E}" destId="{E2166253-036B-4F87-BD42-3A2C43D58AAE}" srcOrd="1" destOrd="0" parTransId="{0DE3D7F7-3E02-4434-A6EB-C35FB18EC9CD}" sibTransId="{21C07A29-4585-47AF-AEA5-C3DD896C8B7A}"/>
    <dgm:cxn modelId="{7C0CA4B2-D06F-4DC3-8358-1B26E880EA17}" type="presOf" srcId="{227C98D8-586C-439E-A10C-4840FF3B0EE0}" destId="{FE4F9F23-5D9D-493F-AA4C-BFA4E4D1DF72}" srcOrd="0" destOrd="0" presId="urn:microsoft.com/office/officeart/2005/8/layout/vList2"/>
    <dgm:cxn modelId="{45AAADDB-015E-4CC5-8C4F-FAA61D0676CE}" srcId="{11E58D60-D218-4BEA-BA88-8DB7E54A0B6E}" destId="{54BA8842-5B43-4233-9F69-9D9640BB602A}" srcOrd="3" destOrd="0" parTransId="{9E557A4B-ABB8-4A0D-80FC-18EA07E75823}" sibTransId="{6EF3E55B-329F-44D7-A5E9-2D0ADEBB7A80}"/>
    <dgm:cxn modelId="{44C6B3F8-0913-40B1-A6DC-180B262F31B9}" type="presOf" srcId="{310A9B40-9328-4694-97F5-294C8E733668}" destId="{AAAA6B02-AEF9-40EC-A3D4-C1AF382A510C}" srcOrd="0" destOrd="0" presId="urn:microsoft.com/office/officeart/2005/8/layout/vList2"/>
    <dgm:cxn modelId="{FC9BDB12-09F2-46CA-8445-D83CBF6D9E65}" type="presParOf" srcId="{E62FAA79-C3C3-43B2-9DDD-9987F1A94638}" destId="{AAAA6B02-AEF9-40EC-A3D4-C1AF382A510C}" srcOrd="0" destOrd="0" presId="urn:microsoft.com/office/officeart/2005/8/layout/vList2"/>
    <dgm:cxn modelId="{257C1B9E-F0D6-4FAC-92A6-8A343D3738FF}" type="presParOf" srcId="{E62FAA79-C3C3-43B2-9DDD-9987F1A94638}" destId="{78BF20BB-C7B2-44B5-944F-8870D0054D0B}" srcOrd="1" destOrd="0" presId="urn:microsoft.com/office/officeart/2005/8/layout/vList2"/>
    <dgm:cxn modelId="{6C324FA1-DEE8-433D-8036-EBBBF57384A6}" type="presParOf" srcId="{E62FAA79-C3C3-43B2-9DDD-9987F1A94638}" destId="{FE29F0B2-0B2A-4CB3-80FB-AEF539556C50}" srcOrd="2" destOrd="0" presId="urn:microsoft.com/office/officeart/2005/8/layout/vList2"/>
    <dgm:cxn modelId="{516BF226-A616-495F-9E33-093DB723EFF4}" type="presParOf" srcId="{E62FAA79-C3C3-43B2-9DDD-9987F1A94638}" destId="{59C54E5A-785F-4932-925E-933A35774344}" srcOrd="3" destOrd="0" presId="urn:microsoft.com/office/officeart/2005/8/layout/vList2"/>
    <dgm:cxn modelId="{80DA6DB7-3B0F-422F-AC04-45BA991F85EA}" type="presParOf" srcId="{E62FAA79-C3C3-43B2-9DDD-9987F1A94638}" destId="{FE4F9F23-5D9D-493F-AA4C-BFA4E4D1DF72}" srcOrd="4" destOrd="0" presId="urn:microsoft.com/office/officeart/2005/8/layout/vList2"/>
    <dgm:cxn modelId="{D7A959EA-9709-40B0-B527-B34E6D0022C5}" type="presParOf" srcId="{E62FAA79-C3C3-43B2-9DDD-9987F1A94638}" destId="{CABA39FF-F705-4A05-9811-1D8DD1A84209}" srcOrd="5" destOrd="0" presId="urn:microsoft.com/office/officeart/2005/8/layout/vList2"/>
    <dgm:cxn modelId="{3646F155-1BF7-47A7-9722-01D41E5951DC}" type="presParOf" srcId="{E62FAA79-C3C3-43B2-9DDD-9987F1A94638}" destId="{74DAAC69-0F02-4CF2-B503-9800C07FB02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F4724B-C0DF-4AA7-BB9B-FE67BA9099B5}">
      <dsp:nvSpPr>
        <dsp:cNvPr id="0" name=""/>
        <dsp:cNvSpPr/>
      </dsp:nvSpPr>
      <dsp:spPr>
        <a:xfrm>
          <a:off x="0" y="33357"/>
          <a:ext cx="10645776" cy="1053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There are many quality tools that can be applied to solving a problem, with steps and procedures specific to the technique. Some approaches are geared more toward identifying true root causes than others, some are more general problem-solving techniques, and others offer support for sustaining successful change.</a:t>
          </a:r>
          <a:endParaRPr lang="en-US" sz="2000" kern="1200"/>
        </a:p>
      </dsp:txBody>
      <dsp:txXfrm>
        <a:off x="51403" y="84760"/>
        <a:ext cx="10542970" cy="95019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AAE6FB-0B93-4A18-86DB-B232EEEC46A7}">
      <dsp:nvSpPr>
        <dsp:cNvPr id="0" name=""/>
        <dsp:cNvSpPr/>
      </dsp:nvSpPr>
      <dsp:spPr>
        <a:xfrm>
          <a:off x="0" y="31675"/>
          <a:ext cx="10869866" cy="538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It shows the relationship between two variables.</a:t>
          </a:r>
        </a:p>
      </dsp:txBody>
      <dsp:txXfrm>
        <a:off x="26273" y="57948"/>
        <a:ext cx="10817320" cy="485654"/>
      </dsp:txXfrm>
    </dsp:sp>
    <dsp:sp modelId="{F1FE7910-294E-4118-A9CF-D6396C8E6961}">
      <dsp:nvSpPr>
        <dsp:cNvPr id="0" name=""/>
        <dsp:cNvSpPr/>
      </dsp:nvSpPr>
      <dsp:spPr>
        <a:xfrm>
          <a:off x="0" y="636115"/>
          <a:ext cx="10869866" cy="538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It is the best method to show you a non-linear pattern.</a:t>
          </a:r>
        </a:p>
      </dsp:txBody>
      <dsp:txXfrm>
        <a:off x="26273" y="662388"/>
        <a:ext cx="10817320" cy="485654"/>
      </dsp:txXfrm>
    </dsp:sp>
    <dsp:sp modelId="{1A4A0EA6-AD90-4429-8A85-0D10D9775AC7}">
      <dsp:nvSpPr>
        <dsp:cNvPr id="0" name=""/>
        <dsp:cNvSpPr/>
      </dsp:nvSpPr>
      <dsp:spPr>
        <a:xfrm>
          <a:off x="0" y="1240555"/>
          <a:ext cx="10869866" cy="538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Observation and reading are straightforward.</a:t>
          </a:r>
        </a:p>
      </dsp:txBody>
      <dsp:txXfrm>
        <a:off x="26273" y="1266828"/>
        <a:ext cx="10817320" cy="48565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D113A5-31E8-4A7B-935A-BA88E48AA60B}">
      <dsp:nvSpPr>
        <dsp:cNvPr id="0" name=""/>
        <dsp:cNvSpPr/>
      </dsp:nvSpPr>
      <dsp:spPr>
        <a:xfrm>
          <a:off x="0" y="0"/>
          <a:ext cx="5411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E098F-7F3B-4CB0-8B30-45A925F93831}">
      <dsp:nvSpPr>
        <dsp:cNvPr id="0" name=""/>
        <dsp:cNvSpPr/>
      </dsp:nvSpPr>
      <dsp:spPr>
        <a:xfrm>
          <a:off x="0" y="0"/>
          <a:ext cx="5411787" cy="122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/>
            <a:t>DMADV methodology ensures new products/processes achieve Six Sigma capability from launch. </a:t>
          </a:r>
          <a:endParaRPr lang="en-US" sz="1600" kern="1200" dirty="0"/>
        </a:p>
      </dsp:txBody>
      <dsp:txXfrm>
        <a:off x="0" y="0"/>
        <a:ext cx="5411787" cy="1223962"/>
      </dsp:txXfrm>
    </dsp:sp>
    <dsp:sp modelId="{40B1E697-288E-4083-8C2D-7683BB291A85}">
      <dsp:nvSpPr>
        <dsp:cNvPr id="0" name=""/>
        <dsp:cNvSpPr/>
      </dsp:nvSpPr>
      <dsp:spPr>
        <a:xfrm>
          <a:off x="0" y="1223962"/>
          <a:ext cx="5411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650B59-9528-49FA-9E86-3966891F41C6}">
      <dsp:nvSpPr>
        <dsp:cNvPr id="0" name=""/>
        <dsp:cNvSpPr/>
      </dsp:nvSpPr>
      <dsp:spPr>
        <a:xfrm>
          <a:off x="0" y="1223962"/>
          <a:ext cx="5411787" cy="122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/>
            <a:t>Through rigorous customer requirement analysis and design optimization, DMADV prevents defects rather than fixing them post-production.</a:t>
          </a:r>
          <a:endParaRPr lang="en-US" sz="1600" kern="1200" dirty="0"/>
        </a:p>
      </dsp:txBody>
      <dsp:txXfrm>
        <a:off x="0" y="1223962"/>
        <a:ext cx="5411787" cy="1223962"/>
      </dsp:txXfrm>
    </dsp:sp>
    <dsp:sp modelId="{7A70AB1F-7515-4219-9247-61319B731EA4}">
      <dsp:nvSpPr>
        <dsp:cNvPr id="0" name=""/>
        <dsp:cNvSpPr/>
      </dsp:nvSpPr>
      <dsp:spPr>
        <a:xfrm>
          <a:off x="0" y="2447925"/>
          <a:ext cx="5411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1E8D0E-AC75-4E5E-89E0-E868AA2DF8A5}">
      <dsp:nvSpPr>
        <dsp:cNvPr id="0" name=""/>
        <dsp:cNvSpPr/>
      </dsp:nvSpPr>
      <dsp:spPr>
        <a:xfrm>
          <a:off x="0" y="2447925"/>
          <a:ext cx="5411787" cy="122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b="1" kern="1200"/>
            <a:t>Use Case:</a:t>
          </a:r>
          <a:r>
            <a:rPr lang="en-IN" sz="1600" kern="1200"/>
            <a:t> Designing new products/processes to meet Six Sigma quality levels from inception.</a:t>
          </a:r>
          <a:endParaRPr lang="en-US" sz="1600" kern="1200"/>
        </a:p>
      </dsp:txBody>
      <dsp:txXfrm>
        <a:off x="0" y="2447925"/>
        <a:ext cx="5411787" cy="1223962"/>
      </dsp:txXfrm>
    </dsp:sp>
    <dsp:sp modelId="{579B20AC-CB87-49B0-857D-AFA1F739E1F7}">
      <dsp:nvSpPr>
        <dsp:cNvPr id="0" name=""/>
        <dsp:cNvSpPr/>
      </dsp:nvSpPr>
      <dsp:spPr>
        <a:xfrm>
          <a:off x="0" y="3671887"/>
          <a:ext cx="5411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D03C97-E461-4445-99CE-2C025BC1C80A}">
      <dsp:nvSpPr>
        <dsp:cNvPr id="0" name=""/>
        <dsp:cNvSpPr/>
      </dsp:nvSpPr>
      <dsp:spPr>
        <a:xfrm>
          <a:off x="0" y="3671887"/>
          <a:ext cx="5411787" cy="1223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b="1" kern="1200" dirty="0"/>
            <a:t>Example:</a:t>
          </a:r>
          <a:r>
            <a:rPr lang="en-IN" sz="1600" kern="1200" dirty="0"/>
            <a:t> Developing new pharmaceutical packaging line designed to achieve more than 3.4 defects per million from day one.</a:t>
          </a:r>
          <a:endParaRPr lang="en-US" sz="1600" kern="1200" dirty="0"/>
        </a:p>
      </dsp:txBody>
      <dsp:txXfrm>
        <a:off x="0" y="3671887"/>
        <a:ext cx="5411787" cy="12239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AA45C8-45BD-49FA-B0AF-CD351FCAD9CF}">
      <dsp:nvSpPr>
        <dsp:cNvPr id="0" name=""/>
        <dsp:cNvSpPr/>
      </dsp:nvSpPr>
      <dsp:spPr>
        <a:xfrm>
          <a:off x="0" y="43864"/>
          <a:ext cx="3597561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ISTAKE PROOFING (POKA-YOKE)</a:t>
          </a:r>
        </a:p>
      </dsp:txBody>
      <dsp:txXfrm>
        <a:off x="0" y="43864"/>
        <a:ext cx="3597561" cy="374400"/>
      </dsp:txXfrm>
    </dsp:sp>
    <dsp:sp modelId="{35C09D9D-2DBA-462D-AEA9-F73BE78BC7C8}">
      <dsp:nvSpPr>
        <dsp:cNvPr id="0" name=""/>
        <dsp:cNvSpPr/>
      </dsp:nvSpPr>
      <dsp:spPr>
        <a:xfrm>
          <a:off x="0" y="418264"/>
          <a:ext cx="3597561" cy="18556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300" b="1" kern="1200"/>
            <a:t>Use Case:</a:t>
          </a:r>
          <a:r>
            <a:rPr lang="en-IN" sz="1300" kern="1200"/>
            <a:t> Designing processes/products that make errors impossible or immediately detectable.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300" kern="1200" dirty="0"/>
            <a:t>Poka-Yoke eliminates defects by making errors physically impossible or immediately visible. 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300" kern="1200"/>
            <a:t>Through clever design of fixtures, sensors, and guides, processes become self-correcting, achieving zero-defect production without relying on human vigilance.</a:t>
          </a:r>
          <a:endParaRPr lang="en-US" sz="1300" kern="1200"/>
        </a:p>
      </dsp:txBody>
      <dsp:txXfrm>
        <a:off x="0" y="418264"/>
        <a:ext cx="3597561" cy="185562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D4685A-394F-4D8E-9CBB-D20841614357}">
      <dsp:nvSpPr>
        <dsp:cNvPr id="0" name=""/>
        <dsp:cNvSpPr/>
      </dsp:nvSpPr>
      <dsp:spPr>
        <a:xfrm>
          <a:off x="0" y="149012"/>
          <a:ext cx="3597561" cy="345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KAIZEN</a:t>
          </a:r>
        </a:p>
      </dsp:txBody>
      <dsp:txXfrm>
        <a:off x="0" y="149012"/>
        <a:ext cx="3597561" cy="345600"/>
      </dsp:txXfrm>
    </dsp:sp>
    <dsp:sp modelId="{33D6BA69-7204-49C0-A189-AE5284DC179E}">
      <dsp:nvSpPr>
        <dsp:cNvPr id="0" name=""/>
        <dsp:cNvSpPr/>
      </dsp:nvSpPr>
      <dsp:spPr>
        <a:xfrm>
          <a:off x="0" y="532711"/>
          <a:ext cx="3597561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b="1" kern="1200" dirty="0"/>
            <a:t>Use Case:</a:t>
          </a:r>
          <a:r>
            <a:rPr lang="en-IN" sz="1200" kern="1200" dirty="0"/>
            <a:t> Engaging all employees in identifying and implementing small, incremental improvements daily.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/>
            <a:t>Kaizen philosophy empowers every employee to contribute continuous small improvements.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These incremental changes compound into transformational results, creating culture where excellence becomes daily habit rather than periodic initiative.</a:t>
          </a:r>
          <a:endParaRPr lang="en-US" sz="1200" kern="1200" dirty="0"/>
        </a:p>
      </dsp:txBody>
      <dsp:txXfrm>
        <a:off x="0" y="532711"/>
        <a:ext cx="3597561" cy="171288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7E14CB-9951-4E40-A5A2-2C48D45EA336}">
      <dsp:nvSpPr>
        <dsp:cNvPr id="0" name=""/>
        <dsp:cNvSpPr/>
      </dsp:nvSpPr>
      <dsp:spPr>
        <a:xfrm>
          <a:off x="0" y="158536"/>
          <a:ext cx="3597561" cy="345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BRAINSTORMING</a:t>
          </a:r>
        </a:p>
      </dsp:txBody>
      <dsp:txXfrm>
        <a:off x="0" y="158536"/>
        <a:ext cx="3597561" cy="345600"/>
      </dsp:txXfrm>
    </dsp:sp>
    <dsp:sp modelId="{9233CAC5-AAD0-43C2-AEDB-A85FAF7B33E6}">
      <dsp:nvSpPr>
        <dsp:cNvPr id="0" name=""/>
        <dsp:cNvSpPr/>
      </dsp:nvSpPr>
      <dsp:spPr>
        <a:xfrm>
          <a:off x="0" y="532711"/>
          <a:ext cx="3597561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b="1" kern="1200"/>
            <a:t>Use Case:</a:t>
          </a:r>
          <a:r>
            <a:rPr lang="en-IN" sz="1200" kern="1200"/>
            <a:t> Generating creative solutions when traditional approaches fail or innovative breakthroughs needed.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/>
            <a:t>Structured brainstorming unleashes collective creativity by suspending judgment and encouraging wild ideas. 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200" kern="1200" dirty="0"/>
            <a:t>Through divergent thinking followed by convergent evaluation, teams discover innovative solutions hiding beyond conventional thinking.</a:t>
          </a:r>
          <a:endParaRPr lang="en-US" sz="1200" kern="1200" dirty="0"/>
        </a:p>
      </dsp:txBody>
      <dsp:txXfrm>
        <a:off x="0" y="532711"/>
        <a:ext cx="3597561" cy="1712880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39CC9F-0090-4A5D-AB72-7637B1DD8360}">
      <dsp:nvSpPr>
        <dsp:cNvPr id="0" name=""/>
        <dsp:cNvSpPr/>
      </dsp:nvSpPr>
      <dsp:spPr>
        <a:xfrm>
          <a:off x="0" y="534299"/>
          <a:ext cx="2263455" cy="113172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 </a:t>
          </a:r>
          <a:r>
            <a:rPr lang="en-US" sz="1600" b="1" kern="1200"/>
            <a:t>Check Sheet</a:t>
          </a:r>
          <a:r>
            <a:rPr lang="en-US" sz="1600" kern="1200"/>
            <a:t> is a structured tool used to collect and tally data in real time. </a:t>
          </a:r>
        </a:p>
      </dsp:txBody>
      <dsp:txXfrm>
        <a:off x="33147" y="567446"/>
        <a:ext cx="2197161" cy="1065433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CEE6EA-902C-4508-8404-5D953A129658}">
      <dsp:nvSpPr>
        <dsp:cNvPr id="0" name=""/>
        <dsp:cNvSpPr/>
      </dsp:nvSpPr>
      <dsp:spPr>
        <a:xfrm>
          <a:off x="0" y="178127"/>
          <a:ext cx="2321936" cy="11609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 </a:t>
          </a:r>
          <a:r>
            <a:rPr lang="en-US" sz="1600" b="1" kern="1200"/>
            <a:t>Flow Chart</a:t>
          </a:r>
          <a:r>
            <a:rPr lang="en-US" sz="1600" kern="1200"/>
            <a:t> is a visual tool used to map out the steps of a process or system.  </a:t>
          </a:r>
        </a:p>
      </dsp:txBody>
      <dsp:txXfrm>
        <a:off x="34004" y="212131"/>
        <a:ext cx="2253928" cy="1092960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FD6CF6-C47C-41C6-9DB2-1A5FE88CFA84}">
      <dsp:nvSpPr>
        <dsp:cNvPr id="0" name=""/>
        <dsp:cNvSpPr/>
      </dsp:nvSpPr>
      <dsp:spPr>
        <a:xfrm>
          <a:off x="0" y="250875"/>
          <a:ext cx="2236591" cy="11182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 </a:t>
          </a:r>
          <a:r>
            <a:rPr lang="en-US" sz="1600" b="1" kern="1200"/>
            <a:t>Fishbone Diagram</a:t>
          </a:r>
          <a:r>
            <a:rPr lang="en-US" sz="1600" kern="1200"/>
            <a:t> is a visual tool used to identify root causes of a specific problem. </a:t>
          </a:r>
        </a:p>
      </dsp:txBody>
      <dsp:txXfrm>
        <a:off x="32754" y="283629"/>
        <a:ext cx="2171083" cy="1052787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C529F5-EFDC-4C46-BE04-0E4781026279}">
      <dsp:nvSpPr>
        <dsp:cNvPr id="0" name=""/>
        <dsp:cNvSpPr/>
      </dsp:nvSpPr>
      <dsp:spPr>
        <a:xfrm>
          <a:off x="0" y="322822"/>
          <a:ext cx="2084239" cy="104211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 </a:t>
          </a:r>
          <a:r>
            <a:rPr lang="en-US" sz="1500" b="1" kern="1200"/>
            <a:t>Histogram</a:t>
          </a:r>
          <a:r>
            <a:rPr lang="en-US" sz="1500" kern="1200"/>
            <a:t> is a graphical tool used to display the frequency distribution of data.  </a:t>
          </a:r>
        </a:p>
      </dsp:txBody>
      <dsp:txXfrm>
        <a:off x="30523" y="353345"/>
        <a:ext cx="2023193" cy="981073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8BFD64-C995-48C6-8996-EC6EF9ECAC1A}">
      <dsp:nvSpPr>
        <dsp:cNvPr id="0" name=""/>
        <dsp:cNvSpPr/>
      </dsp:nvSpPr>
      <dsp:spPr>
        <a:xfrm>
          <a:off x="0" y="291079"/>
          <a:ext cx="2075777" cy="10378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 </a:t>
          </a:r>
          <a:r>
            <a:rPr lang="en-US" sz="1500" b="1" kern="1200"/>
            <a:t>Line Chart </a:t>
          </a:r>
          <a:r>
            <a:rPr lang="en-US" sz="1500" kern="1200"/>
            <a:t>is a visual tool used to display trends or changes over time. </a:t>
          </a:r>
        </a:p>
      </dsp:txBody>
      <dsp:txXfrm>
        <a:off x="30399" y="321478"/>
        <a:ext cx="2014979" cy="9770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4E51FC-AB9D-4A71-9A52-8561E24C03D2}">
      <dsp:nvSpPr>
        <dsp:cNvPr id="0" name=""/>
        <dsp:cNvSpPr/>
      </dsp:nvSpPr>
      <dsp:spPr>
        <a:xfrm>
          <a:off x="0" y="40789"/>
          <a:ext cx="7198519" cy="585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Five Whys (5W)</a:t>
          </a:r>
          <a:endParaRPr lang="en-US" sz="2500" kern="1200" dirty="0"/>
        </a:p>
      </dsp:txBody>
      <dsp:txXfrm>
        <a:off x="28557" y="69346"/>
        <a:ext cx="7141405" cy="527886"/>
      </dsp:txXfrm>
    </dsp:sp>
    <dsp:sp modelId="{EE95237D-19AE-429C-B3DE-C8E438C276B1}">
      <dsp:nvSpPr>
        <dsp:cNvPr id="0" name=""/>
        <dsp:cNvSpPr/>
      </dsp:nvSpPr>
      <dsp:spPr>
        <a:xfrm>
          <a:off x="0" y="697789"/>
          <a:ext cx="7198519" cy="585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Fishbone diagram</a:t>
          </a:r>
          <a:endParaRPr lang="en-US" sz="2500" kern="1200"/>
        </a:p>
      </dsp:txBody>
      <dsp:txXfrm>
        <a:off x="28557" y="726346"/>
        <a:ext cx="7141405" cy="527886"/>
      </dsp:txXfrm>
    </dsp:sp>
    <dsp:sp modelId="{4CDF72F4-B4E3-4927-B16D-95D29DC93DDF}">
      <dsp:nvSpPr>
        <dsp:cNvPr id="0" name=""/>
        <dsp:cNvSpPr/>
      </dsp:nvSpPr>
      <dsp:spPr>
        <a:xfrm>
          <a:off x="0" y="1354789"/>
          <a:ext cx="7198519" cy="585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Eight disciplines (8D) model</a:t>
          </a:r>
          <a:endParaRPr lang="en-US" sz="2500" kern="1200"/>
        </a:p>
      </dsp:txBody>
      <dsp:txXfrm>
        <a:off x="28557" y="1383346"/>
        <a:ext cx="7141405" cy="527886"/>
      </dsp:txXfrm>
    </dsp:sp>
    <dsp:sp modelId="{B6435B07-5514-46DB-BEF2-5D30915F4519}">
      <dsp:nvSpPr>
        <dsp:cNvPr id="0" name=""/>
        <dsp:cNvSpPr/>
      </dsp:nvSpPr>
      <dsp:spPr>
        <a:xfrm>
          <a:off x="0" y="2011789"/>
          <a:ext cx="7198519" cy="585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DMAIC</a:t>
          </a:r>
          <a:endParaRPr lang="en-US" sz="2500" kern="1200"/>
        </a:p>
      </dsp:txBody>
      <dsp:txXfrm>
        <a:off x="28557" y="2040346"/>
        <a:ext cx="7141405" cy="527886"/>
      </dsp:txXfrm>
    </dsp:sp>
    <dsp:sp modelId="{9E89C688-8A20-4682-8CE6-7CC5D00FFF49}">
      <dsp:nvSpPr>
        <dsp:cNvPr id="0" name=""/>
        <dsp:cNvSpPr/>
      </dsp:nvSpPr>
      <dsp:spPr>
        <a:xfrm>
          <a:off x="0" y="2668789"/>
          <a:ext cx="7198519" cy="585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Pareto chart</a:t>
          </a:r>
          <a:endParaRPr lang="en-US" sz="2500" kern="1200"/>
        </a:p>
      </dsp:txBody>
      <dsp:txXfrm>
        <a:off x="28557" y="2697346"/>
        <a:ext cx="7141405" cy="52788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777F6A-3894-4426-ABE6-1AB0F6AE86F2}">
      <dsp:nvSpPr>
        <dsp:cNvPr id="0" name=""/>
        <dsp:cNvSpPr/>
      </dsp:nvSpPr>
      <dsp:spPr>
        <a:xfrm>
          <a:off x="0" y="0"/>
          <a:ext cx="2273796" cy="113689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 </a:t>
          </a:r>
          <a:r>
            <a:rPr lang="en-US" sz="1600" b="1" kern="1200"/>
            <a:t>Scatter Diagram</a:t>
          </a:r>
          <a:r>
            <a:rPr lang="en-US" sz="1600" kern="1200"/>
            <a:t> is a visual tool used to show the relationship between two variables. </a:t>
          </a:r>
        </a:p>
      </dsp:txBody>
      <dsp:txXfrm>
        <a:off x="33299" y="33299"/>
        <a:ext cx="2207198" cy="1070300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6EC9E5-1BDD-45FD-8FF6-3AC7833AC155}">
      <dsp:nvSpPr>
        <dsp:cNvPr id="0" name=""/>
        <dsp:cNvSpPr/>
      </dsp:nvSpPr>
      <dsp:spPr>
        <a:xfrm>
          <a:off x="0" y="193931"/>
          <a:ext cx="2198563" cy="109928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 </a:t>
          </a:r>
          <a:r>
            <a:rPr lang="en-US" sz="1600" b="1" kern="1200" dirty="0"/>
            <a:t>Pareto Chart </a:t>
          </a:r>
          <a:r>
            <a:rPr lang="en-US" sz="1600" kern="1200" dirty="0"/>
            <a:t>is a visual tool used to highlight the most significant factors in a dataset. </a:t>
          </a:r>
        </a:p>
      </dsp:txBody>
      <dsp:txXfrm>
        <a:off x="32197" y="226128"/>
        <a:ext cx="2134169" cy="1034887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068048-AC95-4EEC-B896-EFA38726FA29}">
      <dsp:nvSpPr>
        <dsp:cNvPr id="0" name=""/>
        <dsp:cNvSpPr/>
      </dsp:nvSpPr>
      <dsp:spPr>
        <a:xfrm>
          <a:off x="0" y="71380"/>
          <a:ext cx="5782457" cy="1918800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b="1" kern="1200"/>
            <a:t>Use Case: </a:t>
          </a:r>
          <a:r>
            <a:rPr lang="en-IN" sz="2000" kern="1200"/>
            <a:t>Organizing large amounts of qualitative data into natural groupings for pattern recognition. For example, grouping 200+ customer feedback comments into themed categories revealing primary satisfaction drivers.</a:t>
          </a:r>
          <a:endParaRPr lang="en-US" sz="2000" kern="1200"/>
        </a:p>
      </dsp:txBody>
      <dsp:txXfrm>
        <a:off x="93668" y="165048"/>
        <a:ext cx="5595121" cy="1731464"/>
      </dsp:txXfrm>
    </dsp:sp>
    <dsp:sp modelId="{399662BA-D0D6-4F97-98F9-933543583162}">
      <dsp:nvSpPr>
        <dsp:cNvPr id="0" name=""/>
        <dsp:cNvSpPr/>
      </dsp:nvSpPr>
      <dsp:spPr>
        <a:xfrm>
          <a:off x="0" y="2047780"/>
          <a:ext cx="5782457" cy="1918800"/>
        </a:xfrm>
        <a:prstGeom prst="roundRect">
          <a:avLst/>
        </a:prstGeom>
        <a:solidFill>
          <a:schemeClr val="accent1">
            <a:shade val="50000"/>
            <a:hueOff val="194192"/>
            <a:satOff val="-12663"/>
            <a:lumOff val="435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/>
            <a:t>Affinity diagrams transform chaos into clarity by organizing brainstormed ideas into natural groups. This visual clustering reveals patterns and priorities hidden in overwhelming detail, enabling focused action planning.</a:t>
          </a:r>
          <a:endParaRPr lang="en-US" sz="2000" kern="1200"/>
        </a:p>
      </dsp:txBody>
      <dsp:txXfrm>
        <a:off x="93668" y="2141448"/>
        <a:ext cx="5595121" cy="1731464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A38BFD-116D-4A6D-9789-C6CBEB6543A5}">
      <dsp:nvSpPr>
        <dsp:cNvPr id="0" name=""/>
        <dsp:cNvSpPr/>
      </dsp:nvSpPr>
      <dsp:spPr>
        <a:xfrm>
          <a:off x="0" y="59045"/>
          <a:ext cx="6103187" cy="5646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 dirty="0"/>
            <a:t>An </a:t>
          </a:r>
          <a:r>
            <a:rPr lang="en-US" sz="1300" b="0" i="0" kern="1200" dirty="0">
              <a:hlinkClick xmlns:r="http://schemas.openxmlformats.org/officeDocument/2006/relationships" r:id="rId1"/>
            </a:rPr>
            <a:t>L-shaped matrix</a:t>
          </a:r>
          <a:r>
            <a:rPr lang="en-US" sz="1300" b="0" i="0" kern="1200" dirty="0"/>
            <a:t> relates two groups of items to each other (or one group to itself).</a:t>
          </a:r>
          <a:endParaRPr lang="en-US" sz="1300" kern="1200" dirty="0"/>
        </a:p>
      </dsp:txBody>
      <dsp:txXfrm>
        <a:off x="27565" y="86610"/>
        <a:ext cx="6048057" cy="509541"/>
      </dsp:txXfrm>
    </dsp:sp>
    <dsp:sp modelId="{20879D0F-7143-4806-AE34-A2D58F3980CD}">
      <dsp:nvSpPr>
        <dsp:cNvPr id="0" name=""/>
        <dsp:cNvSpPr/>
      </dsp:nvSpPr>
      <dsp:spPr>
        <a:xfrm>
          <a:off x="0" y="661156"/>
          <a:ext cx="6103187" cy="5646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/>
            <a:t>A </a:t>
          </a:r>
          <a:r>
            <a:rPr lang="en-US" sz="1300" b="0" i="0" kern="1200">
              <a:hlinkClick xmlns:r="http://schemas.openxmlformats.org/officeDocument/2006/relationships" r:id="rId1"/>
            </a:rPr>
            <a:t>T-shaped matrix</a:t>
          </a:r>
          <a:r>
            <a:rPr lang="en-US" sz="1300" b="0" i="0" kern="1200"/>
            <a:t> relates three groups of items: groups B and C are each related to A; groups B and C are not related to each other.</a:t>
          </a:r>
          <a:endParaRPr lang="en-US" sz="1300" kern="1200"/>
        </a:p>
      </dsp:txBody>
      <dsp:txXfrm>
        <a:off x="27565" y="688721"/>
        <a:ext cx="6048057" cy="509541"/>
      </dsp:txXfrm>
    </dsp:sp>
    <dsp:sp modelId="{844126CA-7B61-4542-BC20-23B3F8A39278}">
      <dsp:nvSpPr>
        <dsp:cNvPr id="0" name=""/>
        <dsp:cNvSpPr/>
      </dsp:nvSpPr>
      <dsp:spPr>
        <a:xfrm>
          <a:off x="0" y="1263268"/>
          <a:ext cx="6103187" cy="5646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/>
            <a:t>A </a:t>
          </a:r>
          <a:r>
            <a:rPr lang="en-US" sz="1300" b="0" i="0" kern="1200">
              <a:hlinkClick xmlns:r="http://schemas.openxmlformats.org/officeDocument/2006/relationships" r:id="rId1"/>
            </a:rPr>
            <a:t>Y-shaped matrix</a:t>
          </a:r>
          <a:r>
            <a:rPr lang="en-US" sz="1300" b="0" i="0" kern="1200"/>
            <a:t> relates three groups of items: each group is related to the other two in a circular fashion.</a:t>
          </a:r>
          <a:endParaRPr lang="en-US" sz="1300" kern="1200"/>
        </a:p>
      </dsp:txBody>
      <dsp:txXfrm>
        <a:off x="27565" y="1290833"/>
        <a:ext cx="6048057" cy="509541"/>
      </dsp:txXfrm>
    </dsp:sp>
    <dsp:sp modelId="{CCF5F136-E85A-43B1-845D-24BB089ED2D6}">
      <dsp:nvSpPr>
        <dsp:cNvPr id="0" name=""/>
        <dsp:cNvSpPr/>
      </dsp:nvSpPr>
      <dsp:spPr>
        <a:xfrm>
          <a:off x="0" y="1865379"/>
          <a:ext cx="6103187" cy="5646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/>
            <a:t>A </a:t>
          </a:r>
          <a:r>
            <a:rPr lang="en-US" sz="1300" b="0" i="0" kern="1200">
              <a:hlinkClick xmlns:r="http://schemas.openxmlformats.org/officeDocument/2006/relationships" r:id="rId1"/>
            </a:rPr>
            <a:t>C-shaped matrix</a:t>
          </a:r>
          <a:r>
            <a:rPr lang="en-US" sz="1300" b="0" i="0" kern="1200"/>
            <a:t> relates three groups of items all together simultaneously, in 3D.</a:t>
          </a:r>
          <a:endParaRPr lang="en-US" sz="1300" kern="1200"/>
        </a:p>
      </dsp:txBody>
      <dsp:txXfrm>
        <a:off x="27565" y="1892944"/>
        <a:ext cx="6048057" cy="509541"/>
      </dsp:txXfrm>
    </dsp:sp>
    <dsp:sp modelId="{2C7BC074-7112-443A-9F17-24C78763DB5A}">
      <dsp:nvSpPr>
        <dsp:cNvPr id="0" name=""/>
        <dsp:cNvSpPr/>
      </dsp:nvSpPr>
      <dsp:spPr>
        <a:xfrm>
          <a:off x="0" y="2467490"/>
          <a:ext cx="6103187" cy="5646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/>
            <a:t>An </a:t>
          </a:r>
          <a:r>
            <a:rPr lang="en-US" sz="1300" b="0" i="0" kern="1200">
              <a:hlinkClick xmlns:r="http://schemas.openxmlformats.org/officeDocument/2006/relationships" r:id="rId1"/>
            </a:rPr>
            <a:t>X-shaped matrix</a:t>
          </a:r>
          <a:r>
            <a:rPr lang="en-US" sz="1300" b="0" i="0" kern="1200"/>
            <a:t> relates four groups of items: each group is related to two others in a circular fashion.</a:t>
          </a:r>
          <a:endParaRPr lang="en-US" sz="1300" kern="1200"/>
        </a:p>
      </dsp:txBody>
      <dsp:txXfrm>
        <a:off x="27565" y="2495055"/>
        <a:ext cx="6048057" cy="509541"/>
      </dsp:txXfrm>
    </dsp:sp>
    <dsp:sp modelId="{EAA11B02-B9C5-408B-8EAA-F20A6A3012C9}">
      <dsp:nvSpPr>
        <dsp:cNvPr id="0" name=""/>
        <dsp:cNvSpPr/>
      </dsp:nvSpPr>
      <dsp:spPr>
        <a:xfrm>
          <a:off x="0" y="3069602"/>
          <a:ext cx="6103187" cy="56467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i="0" kern="1200"/>
            <a:t>A </a:t>
          </a:r>
          <a:r>
            <a:rPr lang="en-US" sz="1300" b="0" i="0" kern="1200">
              <a:hlinkClick xmlns:r="http://schemas.openxmlformats.org/officeDocument/2006/relationships" r:id="rId1"/>
            </a:rPr>
            <a:t>roof-shaped matrix</a:t>
          </a:r>
          <a:r>
            <a:rPr lang="en-US" sz="1300" b="0" i="0" kern="1200"/>
            <a:t> relates one group of items to itself; it is usually used along with an L- or T-shaped matrix.</a:t>
          </a:r>
          <a:endParaRPr lang="en-US" sz="1300" kern="1200"/>
        </a:p>
      </dsp:txBody>
      <dsp:txXfrm>
        <a:off x="27565" y="3097167"/>
        <a:ext cx="6048057" cy="50954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6F427A-C860-4F1B-A94A-5ECB1B02EC75}">
      <dsp:nvSpPr>
        <dsp:cNvPr id="0" name=""/>
        <dsp:cNvSpPr/>
      </dsp:nvSpPr>
      <dsp:spPr>
        <a:xfrm>
          <a:off x="0" y="25316"/>
          <a:ext cx="5397501" cy="1085760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b="1" kern="1200"/>
            <a:t>Use Case:</a:t>
          </a:r>
          <a:r>
            <a:rPr lang="en-IN" sz="1600" kern="1200"/>
            <a:t> Continuous improvement projects requiring iterative testing and refinement before full implementation.</a:t>
          </a:r>
          <a:endParaRPr lang="en-US" sz="1600" kern="1200"/>
        </a:p>
      </dsp:txBody>
      <dsp:txXfrm>
        <a:off x="53002" y="78318"/>
        <a:ext cx="5291497" cy="979756"/>
      </dsp:txXfrm>
    </dsp:sp>
    <dsp:sp modelId="{4E7A4994-B63E-40FA-A69C-FA9C0E2B12A8}">
      <dsp:nvSpPr>
        <dsp:cNvPr id="0" name=""/>
        <dsp:cNvSpPr/>
      </dsp:nvSpPr>
      <dsp:spPr>
        <a:xfrm>
          <a:off x="0" y="1278116"/>
          <a:ext cx="5397501" cy="1085760"/>
        </a:xfrm>
        <a:prstGeom prst="roundRect">
          <a:avLst/>
        </a:prstGeom>
        <a:solidFill>
          <a:schemeClr val="accent1">
            <a:shade val="50000"/>
            <a:hueOff val="97096"/>
            <a:satOff val="-6332"/>
            <a:lumOff val="217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b="1" kern="1200"/>
            <a:t>Example:</a:t>
          </a:r>
          <a:r>
            <a:rPr lang="en-IN" sz="1600" kern="1200"/>
            <a:t> Testing new quality inspection procedure in one production cell before plant-wide rollout.</a:t>
          </a:r>
          <a:endParaRPr lang="en-US" sz="1600" kern="1200"/>
        </a:p>
      </dsp:txBody>
      <dsp:txXfrm>
        <a:off x="53002" y="1331118"/>
        <a:ext cx="5291497" cy="979756"/>
      </dsp:txXfrm>
    </dsp:sp>
    <dsp:sp modelId="{54FDB652-0B51-41C3-8A81-D2B0429A9434}">
      <dsp:nvSpPr>
        <dsp:cNvPr id="0" name=""/>
        <dsp:cNvSpPr/>
      </dsp:nvSpPr>
      <dsp:spPr>
        <a:xfrm>
          <a:off x="0" y="2530916"/>
          <a:ext cx="5397501" cy="1085760"/>
        </a:xfrm>
        <a:prstGeom prst="roundRect">
          <a:avLst/>
        </a:prstGeom>
        <a:solidFill>
          <a:schemeClr val="accent1">
            <a:shade val="50000"/>
            <a:hueOff val="194192"/>
            <a:satOff val="-12663"/>
            <a:lumOff val="435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PDCA (Plan-Do-Check-Act) creates systematic improvement through controlled experimentation. </a:t>
          </a:r>
          <a:endParaRPr lang="en-US" sz="1600" kern="1200"/>
        </a:p>
      </dsp:txBody>
      <dsp:txXfrm>
        <a:off x="53002" y="2583918"/>
        <a:ext cx="5291497" cy="979756"/>
      </dsp:txXfrm>
    </dsp:sp>
    <dsp:sp modelId="{507B183B-68CF-4F63-82C8-4938A29468F1}">
      <dsp:nvSpPr>
        <dsp:cNvPr id="0" name=""/>
        <dsp:cNvSpPr/>
      </dsp:nvSpPr>
      <dsp:spPr>
        <a:xfrm>
          <a:off x="0" y="3783716"/>
          <a:ext cx="5397501" cy="1085760"/>
        </a:xfrm>
        <a:prstGeom prst="roundRect">
          <a:avLst/>
        </a:prstGeom>
        <a:solidFill>
          <a:schemeClr val="accent1">
            <a:shade val="50000"/>
            <a:hueOff val="97096"/>
            <a:satOff val="-6332"/>
            <a:lumOff val="217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Small-scale pilots validate solutions before full deployment, reducing implementation risk while building organizational learning.</a:t>
          </a:r>
          <a:endParaRPr lang="en-US" sz="1600" kern="1200"/>
        </a:p>
      </dsp:txBody>
      <dsp:txXfrm>
        <a:off x="53002" y="3836718"/>
        <a:ext cx="5291497" cy="9797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CF2638-2AFD-4D69-A02C-B5FFD3F7DE23}">
      <dsp:nvSpPr>
        <dsp:cNvPr id="0" name=""/>
        <dsp:cNvSpPr/>
      </dsp:nvSpPr>
      <dsp:spPr>
        <a:xfrm rot="5400000">
          <a:off x="5504560" y="-1177861"/>
          <a:ext cx="3624580" cy="688644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i="0" kern="1200">
              <a:hlinkClick xmlns:r="http://schemas.openxmlformats.org/officeDocument/2006/relationships" r:id="rId1"/>
            </a:rPr>
            <a:t>Fishbone diagram</a:t>
          </a:r>
          <a:r>
            <a:rPr lang="en-US" sz="2400" b="0" i="0" kern="1200"/>
            <a:t>: Identifies many possible causes for an effect or problem and sorts ideas into useful categories.</a:t>
          </a:r>
          <a:endParaRPr lang="en-US" sz="2400" kern="120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i="0" kern="1200">
              <a:hlinkClick xmlns:r="http://schemas.openxmlformats.org/officeDocument/2006/relationships" r:id="rId2"/>
            </a:rPr>
            <a:t>Pareto chart</a:t>
          </a:r>
          <a:r>
            <a:rPr lang="en-US" sz="2400" b="0" i="0" kern="1200"/>
            <a:t>: Shows on a bar graph which factors are more significant.</a:t>
          </a:r>
          <a:endParaRPr lang="en-US" sz="2400" kern="120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i="0" kern="1200">
              <a:hlinkClick xmlns:r="http://schemas.openxmlformats.org/officeDocument/2006/relationships" r:id="rId3"/>
            </a:rPr>
            <a:t>Scatter diagram</a:t>
          </a:r>
          <a:r>
            <a:rPr lang="en-US" sz="2400" b="0" i="0" kern="1200"/>
            <a:t>: Graphs pairs of numerical data, with one variable on each axis, to help you look for a relationship.</a:t>
          </a:r>
          <a:endParaRPr lang="en-US" sz="2400" kern="1200"/>
        </a:p>
      </dsp:txBody>
      <dsp:txXfrm rot="-5400000">
        <a:off x="3873627" y="630009"/>
        <a:ext cx="6709511" cy="3270706"/>
      </dsp:txXfrm>
    </dsp:sp>
    <dsp:sp modelId="{18B3CA0A-6A0F-4A93-9A79-01FE6F1F6E8D}">
      <dsp:nvSpPr>
        <dsp:cNvPr id="0" name=""/>
        <dsp:cNvSpPr/>
      </dsp:nvSpPr>
      <dsp:spPr>
        <a:xfrm>
          <a:off x="0" y="0"/>
          <a:ext cx="3873627" cy="45307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0" i="0" kern="1200"/>
            <a:t>Cause analysis tools are helpful tools for conducting a </a:t>
          </a:r>
          <a:r>
            <a:rPr lang="en-US" sz="3200" b="0" i="0" kern="1200">
              <a:hlinkClick xmlns:r="http://schemas.openxmlformats.org/officeDocument/2006/relationships" r:id="rId4"/>
            </a:rPr>
            <a:t>root cause analysis</a:t>
          </a:r>
          <a:r>
            <a:rPr lang="en-US" sz="3200" b="0" i="0" kern="1200"/>
            <a:t> for a problem or situation. They include:</a:t>
          </a:r>
          <a:endParaRPr lang="en-US" sz="3200" kern="1200"/>
        </a:p>
      </dsp:txBody>
      <dsp:txXfrm>
        <a:off x="189095" y="189095"/>
        <a:ext cx="3495437" cy="415253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3B65DB-FB5C-425F-8EDD-E7CD15F12B99}">
      <dsp:nvSpPr>
        <dsp:cNvPr id="0" name=""/>
        <dsp:cNvSpPr/>
      </dsp:nvSpPr>
      <dsp:spPr>
        <a:xfrm>
          <a:off x="0" y="78346"/>
          <a:ext cx="6103187" cy="1156654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/>
            <a:t>Use Case:</a:t>
          </a:r>
          <a:r>
            <a:rPr lang="en-IN" sz="1900" kern="1200"/>
            <a:t> Complex failures requiring multiple investigation techniques to identify true underlying causes.</a:t>
          </a:r>
          <a:endParaRPr lang="en-US" sz="1900" kern="1200"/>
        </a:p>
      </dsp:txBody>
      <dsp:txXfrm>
        <a:off x="56463" y="134809"/>
        <a:ext cx="5990261" cy="1043728"/>
      </dsp:txXfrm>
    </dsp:sp>
    <dsp:sp modelId="{6E535629-F0A5-4493-87B3-8EF223F0D200}">
      <dsp:nvSpPr>
        <dsp:cNvPr id="0" name=""/>
        <dsp:cNvSpPr/>
      </dsp:nvSpPr>
      <dsp:spPr>
        <a:xfrm>
          <a:off x="0" y="1289720"/>
          <a:ext cx="6103187" cy="1156654"/>
        </a:xfrm>
        <a:prstGeom prst="roundRect">
          <a:avLst/>
        </a:prstGeom>
        <a:solidFill>
          <a:schemeClr val="accent1">
            <a:shade val="50000"/>
            <a:hueOff val="97096"/>
            <a:satOff val="-6332"/>
            <a:lumOff val="217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1" kern="1200"/>
            <a:t>Example:</a:t>
          </a:r>
          <a:r>
            <a:rPr lang="en-IN" sz="1900" kern="1200"/>
            <a:t> Product recall investigation combining data analysis, interviews, and testing to find contamination source.</a:t>
          </a:r>
          <a:endParaRPr lang="en-US" sz="1900" kern="1200"/>
        </a:p>
      </dsp:txBody>
      <dsp:txXfrm>
        <a:off x="56463" y="1346183"/>
        <a:ext cx="5990261" cy="1043728"/>
      </dsp:txXfrm>
    </dsp:sp>
    <dsp:sp modelId="{C89B3409-3044-4C5A-A991-491B776E8D68}">
      <dsp:nvSpPr>
        <dsp:cNvPr id="0" name=""/>
        <dsp:cNvSpPr/>
      </dsp:nvSpPr>
      <dsp:spPr>
        <a:xfrm>
          <a:off x="0" y="2501095"/>
          <a:ext cx="6103187" cy="1156654"/>
        </a:xfrm>
        <a:prstGeom prst="roundRect">
          <a:avLst/>
        </a:prstGeom>
        <a:solidFill>
          <a:schemeClr val="accent1">
            <a:shade val="50000"/>
            <a:hueOff val="194192"/>
            <a:satOff val="-12663"/>
            <a:lumOff val="435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kern="1200"/>
            <a:t>RCA employs multiple investigative tools to systematically identify true problem origins. </a:t>
          </a:r>
          <a:endParaRPr lang="en-US" sz="1900" kern="1200"/>
        </a:p>
      </dsp:txBody>
      <dsp:txXfrm>
        <a:off x="56463" y="2557558"/>
        <a:ext cx="5990261" cy="1043728"/>
      </dsp:txXfrm>
    </dsp:sp>
    <dsp:sp modelId="{B116FEC5-49EC-4F26-8DF7-D7EF96CB4096}">
      <dsp:nvSpPr>
        <dsp:cNvPr id="0" name=""/>
        <dsp:cNvSpPr/>
      </dsp:nvSpPr>
      <dsp:spPr>
        <a:xfrm>
          <a:off x="0" y="3712470"/>
          <a:ext cx="6103187" cy="1156654"/>
        </a:xfrm>
        <a:prstGeom prst="roundRect">
          <a:avLst/>
        </a:prstGeom>
        <a:solidFill>
          <a:schemeClr val="accent1">
            <a:shade val="50000"/>
            <a:hueOff val="97096"/>
            <a:satOff val="-6332"/>
            <a:lumOff val="217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kern="1200"/>
            <a:t>By combining data analysis, process mapping, and cause verification, RCA ensures solutions address fundamental issues rather than symptoms.</a:t>
          </a:r>
          <a:endParaRPr lang="en-US" sz="1900" kern="1200"/>
        </a:p>
      </dsp:txBody>
      <dsp:txXfrm>
        <a:off x="56463" y="3768933"/>
        <a:ext cx="5990261" cy="104372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2B8786-3703-44F9-8084-ABC540864127}">
      <dsp:nvSpPr>
        <dsp:cNvPr id="0" name=""/>
        <dsp:cNvSpPr/>
      </dsp:nvSpPr>
      <dsp:spPr>
        <a:xfrm>
          <a:off x="0" y="36482"/>
          <a:ext cx="5302252" cy="810809"/>
        </a:xfrm>
        <a:prstGeom prst="roundRect">
          <a:avLst/>
        </a:prstGeom>
        <a:solidFill>
          <a:schemeClr val="accent3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It is also called as fishbone diagram or Ishikawa diagram.</a:t>
          </a:r>
        </a:p>
      </dsp:txBody>
      <dsp:txXfrm>
        <a:off x="39580" y="76062"/>
        <a:ext cx="5223092" cy="731649"/>
      </dsp:txXfrm>
    </dsp:sp>
    <dsp:sp modelId="{FB73032D-4230-4E59-A7EA-8B89F0186A62}">
      <dsp:nvSpPr>
        <dsp:cNvPr id="0" name=""/>
        <dsp:cNvSpPr/>
      </dsp:nvSpPr>
      <dsp:spPr>
        <a:xfrm>
          <a:off x="0" y="907772"/>
          <a:ext cx="5302252" cy="810809"/>
        </a:xfrm>
        <a:prstGeom prst="roundRect">
          <a:avLst/>
        </a:prstGeom>
        <a:solidFill>
          <a:schemeClr val="accent3">
            <a:shade val="50000"/>
            <a:hueOff val="39291"/>
            <a:satOff val="7987"/>
            <a:lumOff val="219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It identifies many possible causes for an effect or a problem.</a:t>
          </a:r>
        </a:p>
      </dsp:txBody>
      <dsp:txXfrm>
        <a:off x="39580" y="947352"/>
        <a:ext cx="5223092" cy="731649"/>
      </dsp:txXfrm>
    </dsp:sp>
    <dsp:sp modelId="{52C9E6AA-9C73-4265-8B37-B1584590BD7C}">
      <dsp:nvSpPr>
        <dsp:cNvPr id="0" name=""/>
        <dsp:cNvSpPr/>
      </dsp:nvSpPr>
      <dsp:spPr>
        <a:xfrm>
          <a:off x="0" y="1779062"/>
          <a:ext cx="5302252" cy="810809"/>
        </a:xfrm>
        <a:prstGeom prst="roundRect">
          <a:avLst/>
        </a:prstGeom>
        <a:solidFill>
          <a:schemeClr val="accent3">
            <a:shade val="50000"/>
            <a:hueOff val="39291"/>
            <a:satOff val="7987"/>
            <a:lumOff val="219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The main purpose is to understand the root cause behind the problem statement.</a:t>
          </a:r>
        </a:p>
      </dsp:txBody>
      <dsp:txXfrm>
        <a:off x="39580" y="1818642"/>
        <a:ext cx="5223092" cy="73164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40FD21-3BE9-4905-A14F-37DBD8EDBEB2}">
      <dsp:nvSpPr>
        <dsp:cNvPr id="0" name=""/>
        <dsp:cNvSpPr/>
      </dsp:nvSpPr>
      <dsp:spPr>
        <a:xfrm>
          <a:off x="261645" y="51"/>
          <a:ext cx="1957676" cy="12431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2BEF66-80AB-4C3D-853B-0C326BFA7F20}">
      <dsp:nvSpPr>
        <dsp:cNvPr id="0" name=""/>
        <dsp:cNvSpPr/>
      </dsp:nvSpPr>
      <dsp:spPr>
        <a:xfrm>
          <a:off x="479164" y="206695"/>
          <a:ext cx="1957676" cy="12431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hen figuring out the possible causes for a problem.</a:t>
          </a:r>
        </a:p>
      </dsp:txBody>
      <dsp:txXfrm>
        <a:off x="515574" y="243105"/>
        <a:ext cx="1884856" cy="1170304"/>
      </dsp:txXfrm>
    </dsp:sp>
    <dsp:sp modelId="{F075706C-612A-4564-89F3-C8C11CFE652B}">
      <dsp:nvSpPr>
        <dsp:cNvPr id="0" name=""/>
        <dsp:cNvSpPr/>
      </dsp:nvSpPr>
      <dsp:spPr>
        <a:xfrm>
          <a:off x="2654360" y="51"/>
          <a:ext cx="1957676" cy="12431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341014-BEB5-4885-A750-C5191DA416F0}">
      <dsp:nvSpPr>
        <dsp:cNvPr id="0" name=""/>
        <dsp:cNvSpPr/>
      </dsp:nvSpPr>
      <dsp:spPr>
        <a:xfrm>
          <a:off x="2871880" y="206695"/>
          <a:ext cx="1957676" cy="12431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hen a team’s thinking tends to fall.</a:t>
          </a:r>
        </a:p>
      </dsp:txBody>
      <dsp:txXfrm>
        <a:off x="2908290" y="243105"/>
        <a:ext cx="1884856" cy="117030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AE7C3C-CAFE-4BC0-A149-440FC90BDD05}">
      <dsp:nvSpPr>
        <dsp:cNvPr id="0" name=""/>
        <dsp:cNvSpPr/>
      </dsp:nvSpPr>
      <dsp:spPr>
        <a:xfrm>
          <a:off x="0" y="0"/>
          <a:ext cx="328273" cy="328273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941A0A-9B9E-4E3B-A3C0-D20AF28057C1}">
      <dsp:nvSpPr>
        <dsp:cNvPr id="0" name=""/>
        <dsp:cNvSpPr/>
      </dsp:nvSpPr>
      <dsp:spPr>
        <a:xfrm>
          <a:off x="164136" y="0"/>
          <a:ext cx="1491655" cy="32827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Use Case:</a:t>
          </a:r>
        </a:p>
      </dsp:txBody>
      <dsp:txXfrm>
        <a:off x="164136" y="0"/>
        <a:ext cx="1491655" cy="32827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AA6B02-AEF9-40EC-A3D4-C1AF382A510C}">
      <dsp:nvSpPr>
        <dsp:cNvPr id="0" name=""/>
        <dsp:cNvSpPr/>
      </dsp:nvSpPr>
      <dsp:spPr>
        <a:xfrm>
          <a:off x="0" y="29931"/>
          <a:ext cx="8302171" cy="542880"/>
        </a:xfrm>
        <a:prstGeom prst="roundRect">
          <a:avLst/>
        </a:prstGeom>
        <a:solidFill>
          <a:schemeClr val="accent3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t enhances organizational efficiency.</a:t>
          </a:r>
          <a:endParaRPr lang="en-US" sz="2400" kern="1200" dirty="0"/>
        </a:p>
      </dsp:txBody>
      <dsp:txXfrm>
        <a:off x="26501" y="56432"/>
        <a:ext cx="8249169" cy="489878"/>
      </dsp:txXfrm>
    </dsp:sp>
    <dsp:sp modelId="{FE29F0B2-0B2A-4CB3-80FB-AEF539556C50}">
      <dsp:nvSpPr>
        <dsp:cNvPr id="0" name=""/>
        <dsp:cNvSpPr/>
      </dsp:nvSpPr>
      <dsp:spPr>
        <a:xfrm>
          <a:off x="0" y="656331"/>
          <a:ext cx="8302171" cy="542880"/>
        </a:xfrm>
        <a:prstGeom prst="roundRect">
          <a:avLst/>
        </a:prstGeom>
        <a:solidFill>
          <a:schemeClr val="accent3">
            <a:shade val="50000"/>
            <a:hueOff val="29468"/>
            <a:satOff val="5990"/>
            <a:lumOff val="1646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t helps to determine the most significant causes of a problem.</a:t>
          </a:r>
        </a:p>
      </dsp:txBody>
      <dsp:txXfrm>
        <a:off x="26501" y="682832"/>
        <a:ext cx="8249169" cy="489878"/>
      </dsp:txXfrm>
    </dsp:sp>
    <dsp:sp modelId="{FE4F9F23-5D9D-493F-AA4C-BFA4E4D1DF72}">
      <dsp:nvSpPr>
        <dsp:cNvPr id="0" name=""/>
        <dsp:cNvSpPr/>
      </dsp:nvSpPr>
      <dsp:spPr>
        <a:xfrm>
          <a:off x="0" y="1282731"/>
          <a:ext cx="8302171" cy="542880"/>
        </a:xfrm>
        <a:prstGeom prst="roundRect">
          <a:avLst/>
        </a:prstGeom>
        <a:solidFill>
          <a:schemeClr val="accent3">
            <a:shade val="50000"/>
            <a:hueOff val="58936"/>
            <a:satOff val="11980"/>
            <a:lumOff val="3292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t enhances problem-solving skills.</a:t>
          </a:r>
        </a:p>
      </dsp:txBody>
      <dsp:txXfrm>
        <a:off x="26501" y="1309232"/>
        <a:ext cx="8249169" cy="489878"/>
      </dsp:txXfrm>
    </dsp:sp>
    <dsp:sp modelId="{74DAAC69-0F02-4CF2-B503-9800C07FB029}">
      <dsp:nvSpPr>
        <dsp:cNvPr id="0" name=""/>
        <dsp:cNvSpPr/>
      </dsp:nvSpPr>
      <dsp:spPr>
        <a:xfrm>
          <a:off x="0" y="1909131"/>
          <a:ext cx="8302171" cy="542880"/>
        </a:xfrm>
        <a:prstGeom prst="roundRect">
          <a:avLst/>
        </a:prstGeom>
        <a:solidFill>
          <a:schemeClr val="accent3">
            <a:shade val="50000"/>
            <a:hueOff val="29468"/>
            <a:satOff val="5990"/>
            <a:lumOff val="1646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t improves decision making within the organization.</a:t>
          </a:r>
        </a:p>
      </dsp:txBody>
      <dsp:txXfrm>
        <a:off x="26501" y="1935632"/>
        <a:ext cx="8249169" cy="4898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5366</cdr:x>
      <cdr:y>0.94586</cdr:y>
    </cdr:from>
    <cdr:to>
      <cdr:x>0.95366</cdr:x>
      <cdr:y>0.94586</cdr:y>
    </cdr:to>
    <cdr:sp macro="" textlink="">
      <cdr:nvSpPr>
        <cdr:cNvPr id="2049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707678" y="3336639"/>
          <a:ext cx="0" cy="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FFFFFF" mc:Ignorable="a14" a14:legacySpreadsheetColorIndex="65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18288" tIns="18288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US" sz="600" b="0" i="0" u="none" strike="noStrike" baseline="0">
              <a:solidFill>
                <a:srgbClr val="FFFFFF"/>
              </a:solidFill>
              <a:latin typeface="Arial"/>
              <a:cs typeface="Arial"/>
            </a:rPr>
            <a:t>[42]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3.09.20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3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76069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4400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114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 smtClean="0"/>
              <a:pPr algn="r" defTabSz="947738"/>
              <a:t>12</a:t>
            </a:fld>
            <a:endParaRPr lang="en-GB" sz="130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GB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3497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 smtClean="0"/>
              <a:pPr algn="r" defTabSz="947738"/>
              <a:t>13</a:t>
            </a:fld>
            <a:endParaRPr lang="en-GB" sz="130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GB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862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jpeg"/><Relationship Id="rId4" Type="http://schemas.openxmlformats.org/officeDocument/2006/relationships/image" Target="../media/image6.jpe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10" Type="http://schemas.openxmlformats.org/officeDocument/2006/relationships/image" Target="../media/image11.jpeg"/><Relationship Id="rId4" Type="http://schemas.openxmlformats.org/officeDocument/2006/relationships/image" Target="../media/image10.emf"/><Relationship Id="rId9" Type="http://schemas.openxmlformats.org/officeDocument/2006/relationships/image" Target="../media/image7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0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err="1"/>
              <a:t>Dept</a:t>
            </a:r>
            <a:r>
              <a:rPr lang="de-DE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presentation title, two lines maximum.</a:t>
            </a:r>
            <a:br>
              <a:rPr lang="en-US" noProof="0"/>
            </a:br>
            <a:r>
              <a:rPr lang="en-US" noProof="0"/>
              <a:t>text can be moved vertically.</a:t>
            </a:r>
            <a:endParaRPr lang="de-DE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err="1"/>
              <a:t>SubTitle</a:t>
            </a:r>
            <a:r>
              <a:rPr lang="de-DE" noProof="0"/>
              <a:t>,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</a:t>
            </a:r>
            <a:r>
              <a:rPr lang="en-US" noProof="0"/>
              <a:t>maximum</a:t>
            </a:r>
            <a:r>
              <a:rPr lang="de-DE" noProof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Key Note </a:t>
            </a:r>
            <a:r>
              <a:rPr lang="de-DE" noProof="0" err="1"/>
              <a:t>slide</a:t>
            </a:r>
            <a:r>
              <a:rPr lang="de-DE" noProof="0"/>
              <a:t> </a:t>
            </a:r>
            <a:r>
              <a:rPr lang="de-DE" noProof="0" err="1"/>
              <a:t>with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without</a:t>
            </a:r>
            <a:r>
              <a:rPr lang="de-DE" noProof="0"/>
              <a:t> Picture. </a:t>
            </a:r>
            <a:br>
              <a:rPr lang="de-DE" noProof="0"/>
            </a:br>
            <a:r>
              <a:rPr lang="de-DE" noProof="0"/>
              <a:t>(Short!) Text </a:t>
            </a:r>
            <a:r>
              <a:rPr lang="de-DE" noProof="0" err="1"/>
              <a:t>can</a:t>
            </a:r>
            <a:r>
              <a:rPr lang="de-DE" noProof="0"/>
              <a:t> </a:t>
            </a:r>
            <a:r>
              <a:rPr lang="de-DE" noProof="0" err="1"/>
              <a:t>be</a:t>
            </a:r>
            <a:r>
              <a:rPr lang="de-DE" noProof="0"/>
              <a:t> </a:t>
            </a:r>
            <a:r>
              <a:rPr lang="de-DE" noProof="0" err="1"/>
              <a:t>moved</a:t>
            </a:r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err="1"/>
              <a:t>Divider</a:t>
            </a:r>
            <a:r>
              <a:rPr lang="de-DE" noProof="0"/>
              <a:t>.</a:t>
            </a:r>
            <a:br>
              <a:rPr lang="de-DE" noProof="0"/>
            </a:br>
            <a:r>
              <a:rPr lang="de-DE" noProof="0" err="1"/>
              <a:t>Coloured</a:t>
            </a:r>
            <a:r>
              <a:rPr lang="de-DE" noProof="0"/>
              <a:t> Area </a:t>
            </a:r>
            <a:r>
              <a:rPr lang="de-DE" noProof="0" err="1"/>
              <a:t>or</a:t>
            </a:r>
            <a:r>
              <a:rPr lang="de-DE" noProof="0"/>
              <a:t> </a:t>
            </a:r>
            <a:br>
              <a:rPr lang="de-DE" noProof="0"/>
            </a:br>
            <a:r>
              <a:rPr lang="de-DE" noProof="0"/>
              <a:t>Picture o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right</a:t>
            </a:r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0" bIns="720000" anchor="ctr">
            <a:noAutofit/>
          </a:bodyPr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-12065" y="914138"/>
            <a:ext cx="12204066" cy="681519"/>
          </a:xfrm>
          <a:prstGeom prst="rect">
            <a:avLst/>
          </a:prstGeom>
        </p:spPr>
        <p:txBody>
          <a:bodyPr wrap="square" lIns="471600" tIns="72000" rIns="471600" bIns="36000" anchor="b">
            <a:spAutoFit/>
          </a:bodyPr>
          <a:lstStyle>
            <a:lvl1pPr algn="l">
              <a:lnSpc>
                <a:spcPct val="93000"/>
              </a:lnSpc>
              <a:spcAft>
                <a:spcPts val="600"/>
              </a:spcAft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ingle or Double lined Headlin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-12065" y="1716665"/>
            <a:ext cx="12204065" cy="386055"/>
          </a:xfrm>
          <a:prstGeom prst="rect">
            <a:avLst/>
          </a:prstGeom>
        </p:spPr>
        <p:txBody>
          <a:bodyPr lIns="471600" tIns="72000" rIns="471600" bIns="36000"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 sz="2000" b="1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noProof="0"/>
              <a:t>Single or Double lined </a:t>
            </a:r>
            <a:r>
              <a:rPr lang="en-US" noProof="0" err="1"/>
              <a:t>Subheadline</a:t>
            </a:r>
            <a:r>
              <a:rPr lang="en-US" noProof="0"/>
              <a:t>.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10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498532"/>
            <a:ext cx="2095570" cy="31941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None/>
              <a:defRPr sz="1100" b="1"/>
            </a:lvl1pPr>
          </a:lstStyle>
          <a:p>
            <a:pPr lvl="0"/>
            <a:r>
              <a:rPr lang="de-DE"/>
              <a:t>Department | Date</a:t>
            </a:r>
            <a:br>
              <a:rPr lang="de-DE"/>
            </a:br>
            <a:r>
              <a:rPr lang="de-DE"/>
              <a:t>Author</a:t>
            </a:r>
          </a:p>
        </p:txBody>
      </p:sp>
      <p:sp>
        <p:nvSpPr>
          <p:cNvPr id="4" name="MIO_LOGOPLACEHOLDER#16:9" hidden="1"/>
          <p:cNvSpPr>
            <a:spLocks/>
          </p:cNvSpPr>
          <p:nvPr userDrawn="1"/>
        </p:nvSpPr>
        <p:spPr>
          <a:xfrm>
            <a:off x="9999871" y="6137292"/>
            <a:ext cx="1724210" cy="361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>
              <a:solidFill>
                <a:srgbClr val="666666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93AA6CB-44C6-4797-B20C-AA95B94EE0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6936" y="6136777"/>
            <a:ext cx="105333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701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1326">
          <p15:clr>
            <a:srgbClr val="FBAE40"/>
          </p15:clr>
        </p15:guide>
        <p15:guide id="5" orient="horz" pos="1080">
          <p15:clr>
            <a:srgbClr val="FBAE40"/>
          </p15:clr>
        </p15:guide>
        <p15:guide id="6" orient="horz" pos="100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9146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726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8" y="5634000"/>
            <a:ext cx="2647063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Abteilung | Datum 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1007" y="269626"/>
            <a:ext cx="11243074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</a:t>
            </a:r>
            <a:br>
              <a:rPr lang="de-DE"/>
            </a:br>
            <a:r>
              <a:rPr lang="de-DE"/>
              <a:t>Zweizeiliger </a:t>
            </a:r>
            <a:r>
              <a:rPr lang="de-DE" err="1"/>
              <a:t>titel</a:t>
            </a:r>
            <a:r>
              <a:rPr lang="de-DE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1006" y="1386805"/>
            <a:ext cx="11241093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Zweizeilige Subheadline.</a:t>
            </a:r>
          </a:p>
        </p:txBody>
      </p:sp>
      <p:pic>
        <p:nvPicPr>
          <p:cNvPr id="11" name="Bild 8" descr="BMWMINIRR_5fbg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3DC3F92C-3D2F-4921-953D-CE44D94B5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98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4" orient="horz" pos="2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844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"/>
          <a:stretch>
            <a:fillRect/>
          </a:stretch>
        </p:blipFill>
        <p:spPr>
          <a:xfrm>
            <a:off x="-318" y="-6669"/>
            <a:ext cx="12204066" cy="6868059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8" y="5634000"/>
            <a:ext cx="2646000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rgbClr val="343434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Abteilung | Datum</a:t>
            </a:r>
          </a:p>
        </p:txBody>
      </p:sp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Bild 6" descr="bmw_T_logo_next_weiß_ppt -0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961" y="2668406"/>
            <a:ext cx="8854458" cy="1517907"/>
          </a:xfrm>
          <a:prstGeom prst="rect">
            <a:avLst/>
          </a:prstGeom>
        </p:spPr>
      </p:pic>
      <p:sp>
        <p:nvSpPr>
          <p:cNvPr id="14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1007" y="269626"/>
            <a:ext cx="11243074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</a:t>
            </a:r>
            <a:br>
              <a:rPr lang="de-DE"/>
            </a:br>
            <a:r>
              <a:rPr lang="de-DE"/>
              <a:t>Zweizeiliger </a:t>
            </a:r>
            <a:r>
              <a:rPr lang="de-DE" err="1"/>
              <a:t>titel</a:t>
            </a:r>
            <a:r>
              <a:rPr lang="de-DE"/>
              <a:t>.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1006" y="1386805"/>
            <a:ext cx="11241093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Zweizeilige Subheadline.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21" name="Bild 8" descr="BMWMINIRR_5fbg Kopie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7868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78">
          <p15:clr>
            <a:srgbClr val="FBAE40"/>
          </p15:clr>
        </p15:guide>
        <p15:guide id="2" orient="horz" pos="1128">
          <p15:clr>
            <a:srgbClr val="FBAE40"/>
          </p15:clr>
        </p15:guide>
        <p15:guide id="3" orient="horz" pos="426">
          <p15:clr>
            <a:srgbClr val="FBAE40"/>
          </p15:clr>
        </p15:guide>
        <p15:guide id="4" orient="horz" pos="216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9146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718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1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7"/>
            <a:ext cx="11224685" cy="53860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Kapiteltrenner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91257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36">
          <p15:clr>
            <a:srgbClr val="FBAE40"/>
          </p15:clr>
        </p15:guide>
        <p15:guide id="2" orient="horz" pos="890">
          <p15:clr>
            <a:srgbClr val="FBAE40"/>
          </p15:clr>
        </p15:guide>
        <p15:guide id="3" pos="7384">
          <p15:clr>
            <a:srgbClr val="FBAE40"/>
          </p15:clr>
        </p15:guide>
        <p15:guide id="4" pos="30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993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613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 11" descr="Next_100_Years_Signet_grey.png"/>
          <p:cNvPicPr>
            <a:picLocks noChangeAspect="1"/>
          </p:cNvPicPr>
          <p:nvPr userDrawn="1"/>
        </p:nvPicPr>
        <p:blipFill rotWithShape="1">
          <a:blip r:embed="rId5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64" t="45716" r="-20585" b="-251"/>
          <a:stretch/>
        </p:blipFill>
        <p:spPr>
          <a:xfrm>
            <a:off x="0" y="2"/>
            <a:ext cx="9191124" cy="626908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570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2061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6">
          <p15:clr>
            <a:srgbClr val="FBAE40"/>
          </p15:clr>
        </p15:guide>
        <p15:guide id="8" pos="3768">
          <p15:clr>
            <a:srgbClr val="FBAE40"/>
          </p15:clr>
        </p15:guide>
        <p15:guide id="9" pos="7384">
          <p15:clr>
            <a:srgbClr val="FBAE40"/>
          </p15:clr>
        </p15:guide>
        <p15:guide id="10" pos="30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306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7">
          <p15:clr>
            <a:srgbClr val="FBAE40"/>
          </p15:clr>
        </p15:guide>
        <p15:guide id="8" pos="3769">
          <p15:clr>
            <a:srgbClr val="FBAE40"/>
          </p15:clr>
        </p15:guide>
        <p15:guide id="9" pos="7384">
          <p15:clr>
            <a:srgbClr val="FBAE40"/>
          </p15:clr>
        </p15:guide>
        <p15:guide id="10" orient="horz" pos="1131">
          <p15:clr>
            <a:srgbClr val="FBAE40"/>
          </p15:clr>
        </p15:guide>
        <p15:guide id="11" orient="horz" pos="1094">
          <p15:clr>
            <a:srgbClr val="FBAE40"/>
          </p15:clr>
        </p15:guide>
        <p15:guide id="12" pos="30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95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orient="horz" pos="42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68615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pos="301">
          <p15:clr>
            <a:srgbClr val="FBAE40"/>
          </p15:clr>
        </p15:guide>
        <p15:guide id="4" pos="738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0245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896">
          <p15:clr>
            <a:srgbClr val="FBAE40"/>
          </p15:clr>
        </p15:guide>
        <p15:guide id="6" pos="301">
          <p15:clr>
            <a:srgbClr val="FBAE40"/>
          </p15:clr>
        </p15:guide>
        <p15:guide id="7" pos="7384">
          <p15:clr>
            <a:srgbClr val="FBAE40"/>
          </p15:clr>
        </p15:guide>
        <p15:guide id="8" pos="3768">
          <p15:clr>
            <a:srgbClr val="FBAE40"/>
          </p15:clr>
        </p15:guide>
        <p15:guide id="9" orient="horz" pos="4042">
          <p15:clr>
            <a:srgbClr val="FBAE40"/>
          </p15:clr>
        </p15:guide>
        <p15:guide id="10" orient="horz" pos="4260">
          <p15:clr>
            <a:srgbClr val="FBAE40"/>
          </p15:clr>
        </p15:guide>
        <p15:guide id="11" orient="horz" pos="2636">
          <p15:clr>
            <a:srgbClr val="FBAE40"/>
          </p15:clr>
        </p15:guide>
        <p15:guide id="12" orient="horz" pos="253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6839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7384">
          <p15:clr>
            <a:srgbClr val="FBAE40"/>
          </p15:clr>
        </p15:guide>
        <p15:guide id="8" pos="301">
          <p15:clr>
            <a:srgbClr val="FBAE40"/>
          </p15:clr>
        </p15:guide>
        <p15:guide id="9" pos="5120">
          <p15:clr>
            <a:srgbClr val="FBAE40"/>
          </p15:clr>
        </p15:guide>
        <p15:guide id="10" pos="4968">
          <p15:clr>
            <a:srgbClr val="FBAE40"/>
          </p15:clr>
        </p15:guide>
        <p15:guide id="11" pos="2704">
          <p15:clr>
            <a:srgbClr val="FBAE40"/>
          </p15:clr>
        </p15:guide>
        <p15:guide id="12" pos="256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4583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1960">
          <p15:clr>
            <a:srgbClr val="FBAE40"/>
          </p15:clr>
        </p15:guide>
        <p15:guide id="10" pos="2112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  <p15:guide id="13" pos="5564">
          <p15:clr>
            <a:srgbClr val="FBAE40"/>
          </p15:clr>
        </p15:guide>
        <p15:guide id="14" pos="57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0682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3768">
          <p15:clr>
            <a:srgbClr val="FBAE40"/>
          </p15:clr>
        </p15:guide>
        <p15:guide id="10" pos="390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34169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2166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00428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/>
              <a:t>Click to edit Master title style.</a:t>
            </a:r>
            <a:br>
              <a:rPr lang="en-US" noProof="0"/>
            </a:br>
            <a:r>
              <a:rPr lang="en-US" noProof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GB" noProof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04892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0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r>
              <a:rPr lang="de-DE" noProof="0"/>
              <a:t>.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insert</a:t>
            </a:r>
            <a:r>
              <a:rPr lang="de-DE" noProof="0"/>
              <a:t> </a:t>
            </a:r>
            <a:r>
              <a:rPr lang="de-DE" noProof="0" err="1"/>
              <a:t>content</a:t>
            </a:r>
            <a:r>
              <a:rPr lang="de-DE" noProof="0"/>
              <a:t> like a </a:t>
            </a:r>
            <a:r>
              <a:rPr lang="de-DE" noProof="0" err="1"/>
              <a:t>table</a:t>
            </a:r>
            <a:r>
              <a:rPr lang="de-DE" noProof="0"/>
              <a:t> </a:t>
            </a:r>
            <a:r>
              <a:rPr lang="de-DE" noProof="0" err="1"/>
              <a:t>or</a:t>
            </a:r>
            <a:r>
              <a:rPr lang="de-DE" noProof="0"/>
              <a:t> </a:t>
            </a:r>
            <a:r>
              <a:rPr lang="de-DE" noProof="0" err="1"/>
              <a:t>diagram</a:t>
            </a:r>
            <a:r>
              <a:rPr lang="de-DE" noProof="0"/>
              <a:t> just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icon</a:t>
            </a:r>
            <a:r>
              <a:rPr lang="de-DE" noProof="0"/>
              <a:t> in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middle</a:t>
            </a:r>
            <a:r>
              <a:rPr lang="de-DE" noProof="0"/>
              <a:t> </a:t>
            </a:r>
            <a:r>
              <a:rPr lang="de-DE" noProof="0" err="1"/>
              <a:t>of</a:t>
            </a:r>
            <a:r>
              <a:rPr lang="de-DE" noProof="0"/>
              <a:t>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placeholder</a:t>
            </a:r>
            <a:r>
              <a:rPr lang="de-DE" noProof="0"/>
              <a:t>.</a:t>
            </a:r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3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oleObject" Target="../embeddings/oleObject2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text</a:t>
            </a:r>
            <a:endParaRPr lang="de-DE" noProof="0"/>
          </a:p>
          <a:p>
            <a:pPr lvl="1"/>
            <a:r>
              <a:rPr lang="de-DE" noProof="0"/>
              <a:t>Second </a:t>
            </a:r>
            <a:r>
              <a:rPr lang="de-DE" noProof="0" err="1"/>
              <a:t>level</a:t>
            </a:r>
            <a:endParaRPr lang="de-DE" noProof="0"/>
          </a:p>
          <a:p>
            <a:pPr lvl="2"/>
            <a:r>
              <a:rPr lang="de-DE" noProof="0"/>
              <a:t>Third </a:t>
            </a:r>
            <a:r>
              <a:rPr lang="de-DE" noProof="0" err="1"/>
              <a:t>level</a:t>
            </a:r>
            <a:endParaRPr lang="de-DE" noProof="0"/>
          </a:p>
          <a:p>
            <a:pPr lvl="3"/>
            <a:r>
              <a:rPr lang="de-DE" noProof="0"/>
              <a:t>Forth </a:t>
            </a:r>
            <a:r>
              <a:rPr lang="de-DE" noProof="0" err="1"/>
              <a:t>level</a:t>
            </a:r>
            <a:endParaRPr lang="de-DE" noProof="0"/>
          </a:p>
          <a:p>
            <a:pPr lvl="4"/>
            <a:r>
              <a:rPr lang="de-DE" noProof="0" err="1"/>
              <a:t>Fifth</a:t>
            </a:r>
            <a:r>
              <a:rPr lang="de-DE" noProof="0"/>
              <a:t> </a:t>
            </a:r>
            <a:r>
              <a:rPr lang="de-DE" noProof="0" err="1"/>
              <a:t>level</a:t>
            </a:r>
            <a:endParaRPr lang="de-DE" noProof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</a:t>
            </a:r>
            <a:r>
              <a:rPr lang="de-DE" noProof="0" err="1"/>
              <a:t>Uppercase</a:t>
            </a:r>
            <a:r>
              <a:rPr lang="de-DE" noProof="0"/>
              <a:t>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F83B64B-464E-DDE8-CB32-AD22DAA5DE9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C00000"/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  <p:sp>
        <p:nvSpPr>
          <p:cNvPr id="5" name="FußzeileAU1">
            <a:extLst>
              <a:ext uri="{FF2B5EF4-FFF2-40B4-BE49-F238E27FC236}">
                <a16:creationId xmlns:a16="http://schemas.microsoft.com/office/drawing/2014/main" id="{01FF1860-B4DB-FC82-3A42-B82C6789199E}"/>
              </a:ext>
            </a:extLst>
          </p:cNvPr>
          <p:cNvSpPr/>
          <p:nvPr userDrawn="1"/>
        </p:nvSpPr>
        <p:spPr>
          <a:xfrm>
            <a:off x="488947" y="6646943"/>
            <a:ext cx="1841851" cy="153888"/>
          </a:xfrm>
          <a:prstGeom prst="rect">
            <a:avLst/>
          </a:prstGeom>
          <a:noFill/>
          <a:ln w="190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algn="l"/>
            <a:r>
              <a:rPr lang="en-US" sz="1000">
                <a:solidFill>
                  <a:schemeClr val="tx1">
                    <a:tint val="90000"/>
                  </a:schemeClr>
                </a:solidFill>
              </a:rPr>
              <a:t>TV-435 | Sept 2025 | Sulaiman Ali M</a:t>
            </a:r>
          </a:p>
        </p:txBody>
      </p:sp>
      <p:sp>
        <p:nvSpPr>
          <p:cNvPr id="6" name="SeitenzahlAU1">
            <a:extLst>
              <a:ext uri="{FF2B5EF4-FFF2-40B4-BE49-F238E27FC236}">
                <a16:creationId xmlns:a16="http://schemas.microsoft.com/office/drawing/2014/main" id="{8D665A3D-FA26-7E89-B282-33D3FEE26873}"/>
              </a:ext>
            </a:extLst>
          </p:cNvPr>
          <p:cNvSpPr/>
          <p:nvPr userDrawn="1"/>
        </p:nvSpPr>
        <p:spPr>
          <a:xfrm>
            <a:off x="11420281" y="6646943"/>
            <a:ext cx="293350" cy="153888"/>
          </a:xfrm>
          <a:prstGeom prst="rect">
            <a:avLst/>
          </a:prstGeom>
          <a:noFill/>
          <a:ln w="190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algn="r"/>
            <a:r>
              <a:rPr lang="en-US" sz="1000">
                <a:solidFill>
                  <a:schemeClr val="tx1">
                    <a:tint val="90000"/>
                  </a:schemeClr>
                </a:solidFill>
              </a:rPr>
              <a:t>- </a:t>
            </a:r>
            <a:fld id="{06D0A331-F418-4527-A8B2-F963C6635F0B}" type="slidenum">
              <a:rPr lang="en-US" sz="1000" smtClean="0">
                <a:solidFill>
                  <a:schemeClr val="tx1">
                    <a:tint val="90000"/>
                  </a:schemeClr>
                </a:solidFill>
              </a:rPr>
              <a:pPr algn="r"/>
              <a:t>‹#›</a:t>
            </a:fld>
            <a:r>
              <a:rPr lang="en-US" sz="1000">
                <a:solidFill>
                  <a:schemeClr val="tx1">
                    <a:tint val="90000"/>
                  </a:schemeClr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80856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04040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BACDAF-1393-A1B4-CA4E-6CA42D38460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36387" y="6611620"/>
            <a:ext cx="947738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C00000"/>
                </a:solidFill>
                <a:latin typeface="BMW Group Condensed" panose="020B0606020202020204" pitchFamily="34" charset="0"/>
              </a:rPr>
              <a:t>CONFIDENTIAL</a:t>
            </a:r>
          </a:p>
        </p:txBody>
      </p:sp>
      <p:sp>
        <p:nvSpPr>
          <p:cNvPr id="10" name="FußzeileAU1">
            <a:extLst>
              <a:ext uri="{FF2B5EF4-FFF2-40B4-BE49-F238E27FC236}">
                <a16:creationId xmlns:a16="http://schemas.microsoft.com/office/drawing/2014/main" id="{59910E9B-57DA-5F74-81BB-7882948FD622}"/>
              </a:ext>
            </a:extLst>
          </p:cNvPr>
          <p:cNvSpPr/>
          <p:nvPr userDrawn="1"/>
        </p:nvSpPr>
        <p:spPr>
          <a:xfrm>
            <a:off x="488947" y="6646943"/>
            <a:ext cx="176009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CCCCC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>
                <a:solidFill>
                  <a:schemeClr val="tx1">
                    <a:tint val="90000"/>
                  </a:schemeClr>
                </a:solidFill>
                <a:latin typeface="BMW Group Condensed" panose="020B0606020202020204" pitchFamily="34" charset="0"/>
              </a:rPr>
              <a:t>TV-435 | Sept 2025 | Sulaiman Ali M</a:t>
            </a:r>
            <a:endParaRPr lang="en-US" sz="1000" b="0" i="0" u="none" baseline="0" err="1">
              <a:solidFill>
                <a:schemeClr val="tx1">
                  <a:tint val="90000"/>
                </a:schemeClr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SeitenzahlAU1">
            <a:extLst>
              <a:ext uri="{FF2B5EF4-FFF2-40B4-BE49-F238E27FC236}">
                <a16:creationId xmlns:a16="http://schemas.microsoft.com/office/drawing/2014/main" id="{54812A3E-AD94-AB31-F665-46911707C3B7}"/>
              </a:ext>
            </a:extLst>
          </p:cNvPr>
          <p:cNvSpPr/>
          <p:nvPr userDrawn="1"/>
        </p:nvSpPr>
        <p:spPr>
          <a:xfrm>
            <a:off x="11442722" y="6646943"/>
            <a:ext cx="27090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CCCCC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>
                <a:solidFill>
                  <a:schemeClr val="tx1">
                    <a:tint val="90000"/>
                  </a:schemeClr>
                </a:solidFill>
                <a:latin typeface="BMW Group Condensed" panose="020B0606020202020204" pitchFamily="34" charset="0"/>
              </a:rPr>
              <a:t>- </a:t>
            </a:r>
            <a:fld id="{3D6DCEB4-397F-4A5F-8CB5-A071E4EE036C}" type="slidenum">
              <a:rPr lang="en-US" sz="1000" b="0" i="0" u="none" baseline="0" smtClean="0">
                <a:solidFill>
                  <a:schemeClr val="tx1">
                    <a:tint val="90000"/>
                  </a:schemeClr>
                </a:solidFill>
                <a:latin typeface="BMW Group Condensed" panose="020B0606020202020204" pitchFamily="34" charset="0"/>
              </a:rPr>
              <a:pPr algn="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US" sz="1000" b="0" i="0" u="none" baseline="0">
                <a:solidFill>
                  <a:schemeClr val="tx1">
                    <a:tint val="90000"/>
                  </a:schemeClr>
                </a:solidFill>
                <a:latin typeface="BMW Group Condensed" panose="020B0606020202020204" pitchFamily="34" charset="0"/>
              </a:rPr>
              <a:t> -</a:t>
            </a:r>
            <a:endParaRPr lang="en-US" sz="1000" b="0" i="0" u="none" baseline="0" err="1">
              <a:solidFill>
                <a:schemeClr val="tx1">
                  <a:tint val="90000"/>
                </a:schemeClr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401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40" r:id="rId18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2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25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5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2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25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diagramLayout" Target="../diagrams/layout8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12" Type="http://schemas.openxmlformats.org/officeDocument/2006/relationships/diagramData" Target="../diagrams/data8.xml"/><Relationship Id="rId17" Type="http://schemas.openxmlformats.org/officeDocument/2006/relationships/image" Target="../media/image23.png"/><Relationship Id="rId2" Type="http://schemas.openxmlformats.org/officeDocument/2006/relationships/diagramData" Target="../diagrams/data6.xml"/><Relationship Id="rId16" Type="http://schemas.microsoft.com/office/2007/relationships/diagramDrawing" Target="../diagrams/drawing8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5" Type="http://schemas.openxmlformats.org/officeDocument/2006/relationships/diagramColors" Target="../diagrams/colors8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Relationship Id="rId1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13" Type="http://schemas.openxmlformats.org/officeDocument/2006/relationships/diagramData" Target="../diagrams/data14.xml"/><Relationship Id="rId18" Type="http://schemas.openxmlformats.org/officeDocument/2006/relationships/image" Target="../media/image37.png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12" Type="http://schemas.microsoft.com/office/2007/relationships/diagramDrawing" Target="../diagrams/drawing13.xml"/><Relationship Id="rId17" Type="http://schemas.microsoft.com/office/2007/relationships/diagramDrawing" Target="../diagrams/drawing14.xml"/><Relationship Id="rId2" Type="http://schemas.openxmlformats.org/officeDocument/2006/relationships/image" Target="../media/image36.png"/><Relationship Id="rId16" Type="http://schemas.openxmlformats.org/officeDocument/2006/relationships/diagramColors" Target="../diagrams/colors14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2.xml"/><Relationship Id="rId11" Type="http://schemas.openxmlformats.org/officeDocument/2006/relationships/diagramColors" Target="../diagrams/colors13.xml"/><Relationship Id="rId5" Type="http://schemas.openxmlformats.org/officeDocument/2006/relationships/diagramQuickStyle" Target="../diagrams/quickStyle12.xml"/><Relationship Id="rId15" Type="http://schemas.openxmlformats.org/officeDocument/2006/relationships/diagramQuickStyle" Target="../diagrams/quickStyle14.xml"/><Relationship Id="rId10" Type="http://schemas.openxmlformats.org/officeDocument/2006/relationships/diagramQuickStyle" Target="../diagrams/quickStyle13.xml"/><Relationship Id="rId19" Type="http://schemas.microsoft.com/office/2007/relationships/hdphoto" Target="../media/hdphoto1.wdp"/><Relationship Id="rId4" Type="http://schemas.openxmlformats.org/officeDocument/2006/relationships/diagramLayout" Target="../diagrams/layout12.xml"/><Relationship Id="rId9" Type="http://schemas.openxmlformats.org/officeDocument/2006/relationships/diagramLayout" Target="../diagrams/layout13.xml"/><Relationship Id="rId14" Type="http://schemas.openxmlformats.org/officeDocument/2006/relationships/diagramLayout" Target="../diagrams/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microsoft.com/office/2007/relationships/diagramDrawing" Target="../diagrams/drawing15.xml"/><Relationship Id="rId18" Type="http://schemas.microsoft.com/office/2007/relationships/diagramDrawing" Target="../diagrams/drawing16.xml"/><Relationship Id="rId26" Type="http://schemas.openxmlformats.org/officeDocument/2006/relationships/diagramQuickStyle" Target="../diagrams/quickStyle18.xml"/><Relationship Id="rId39" Type="http://schemas.openxmlformats.org/officeDocument/2006/relationships/diagramData" Target="../diagrams/data21.xml"/><Relationship Id="rId3" Type="http://schemas.openxmlformats.org/officeDocument/2006/relationships/image" Target="../media/image39.png"/><Relationship Id="rId21" Type="http://schemas.openxmlformats.org/officeDocument/2006/relationships/diagramQuickStyle" Target="../diagrams/quickStyle17.xml"/><Relationship Id="rId34" Type="http://schemas.openxmlformats.org/officeDocument/2006/relationships/diagramData" Target="../diagrams/data20.xml"/><Relationship Id="rId42" Type="http://schemas.openxmlformats.org/officeDocument/2006/relationships/diagramColors" Target="../diagrams/colors21.xml"/><Relationship Id="rId7" Type="http://schemas.openxmlformats.org/officeDocument/2006/relationships/image" Target="../media/image43.png"/><Relationship Id="rId12" Type="http://schemas.openxmlformats.org/officeDocument/2006/relationships/diagramColors" Target="../diagrams/colors15.xml"/><Relationship Id="rId17" Type="http://schemas.openxmlformats.org/officeDocument/2006/relationships/diagramColors" Target="../diagrams/colors16.xml"/><Relationship Id="rId25" Type="http://schemas.openxmlformats.org/officeDocument/2006/relationships/diagramLayout" Target="../diagrams/layout18.xml"/><Relationship Id="rId33" Type="http://schemas.microsoft.com/office/2007/relationships/diagramDrawing" Target="../diagrams/drawing19.xml"/><Relationship Id="rId38" Type="http://schemas.microsoft.com/office/2007/relationships/diagramDrawing" Target="../diagrams/drawing20.xml"/><Relationship Id="rId2" Type="http://schemas.openxmlformats.org/officeDocument/2006/relationships/image" Target="../media/image38.png"/><Relationship Id="rId16" Type="http://schemas.openxmlformats.org/officeDocument/2006/relationships/diagramQuickStyle" Target="../diagrams/quickStyle16.xml"/><Relationship Id="rId20" Type="http://schemas.openxmlformats.org/officeDocument/2006/relationships/diagramLayout" Target="../diagrams/layout17.xml"/><Relationship Id="rId29" Type="http://schemas.openxmlformats.org/officeDocument/2006/relationships/diagramData" Target="../diagrams/data19.xml"/><Relationship Id="rId41" Type="http://schemas.openxmlformats.org/officeDocument/2006/relationships/diagramQuickStyle" Target="../diagrams/quickStyle2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11" Type="http://schemas.openxmlformats.org/officeDocument/2006/relationships/diagramQuickStyle" Target="../diagrams/quickStyle15.xml"/><Relationship Id="rId24" Type="http://schemas.openxmlformats.org/officeDocument/2006/relationships/diagramData" Target="../diagrams/data18.xml"/><Relationship Id="rId32" Type="http://schemas.openxmlformats.org/officeDocument/2006/relationships/diagramColors" Target="../diagrams/colors19.xml"/><Relationship Id="rId37" Type="http://schemas.openxmlformats.org/officeDocument/2006/relationships/diagramColors" Target="../diagrams/colors20.xml"/><Relationship Id="rId40" Type="http://schemas.openxmlformats.org/officeDocument/2006/relationships/diagramLayout" Target="../diagrams/layout21.xml"/><Relationship Id="rId5" Type="http://schemas.openxmlformats.org/officeDocument/2006/relationships/image" Target="../media/image41.png"/><Relationship Id="rId15" Type="http://schemas.openxmlformats.org/officeDocument/2006/relationships/diagramLayout" Target="../diagrams/layout16.xml"/><Relationship Id="rId23" Type="http://schemas.microsoft.com/office/2007/relationships/diagramDrawing" Target="../diagrams/drawing17.xml"/><Relationship Id="rId28" Type="http://schemas.microsoft.com/office/2007/relationships/diagramDrawing" Target="../diagrams/drawing18.xml"/><Relationship Id="rId36" Type="http://schemas.openxmlformats.org/officeDocument/2006/relationships/diagramQuickStyle" Target="../diagrams/quickStyle20.xml"/><Relationship Id="rId10" Type="http://schemas.openxmlformats.org/officeDocument/2006/relationships/diagramLayout" Target="../diagrams/layout15.xml"/><Relationship Id="rId19" Type="http://schemas.openxmlformats.org/officeDocument/2006/relationships/diagramData" Target="../diagrams/data17.xml"/><Relationship Id="rId31" Type="http://schemas.openxmlformats.org/officeDocument/2006/relationships/diagramQuickStyle" Target="../diagrams/quickStyle19.xml"/><Relationship Id="rId4" Type="http://schemas.openxmlformats.org/officeDocument/2006/relationships/image" Target="../media/image40.png"/><Relationship Id="rId9" Type="http://schemas.openxmlformats.org/officeDocument/2006/relationships/diagramData" Target="../diagrams/data15.xml"/><Relationship Id="rId14" Type="http://schemas.openxmlformats.org/officeDocument/2006/relationships/diagramData" Target="../diagrams/data16.xml"/><Relationship Id="rId22" Type="http://schemas.openxmlformats.org/officeDocument/2006/relationships/diagramColors" Target="../diagrams/colors17.xml"/><Relationship Id="rId27" Type="http://schemas.openxmlformats.org/officeDocument/2006/relationships/diagramColors" Target="../diagrams/colors18.xml"/><Relationship Id="rId30" Type="http://schemas.openxmlformats.org/officeDocument/2006/relationships/diagramLayout" Target="../diagrams/layout19.xml"/><Relationship Id="rId35" Type="http://schemas.openxmlformats.org/officeDocument/2006/relationships/diagramLayout" Target="../diagrams/layout20.xml"/><Relationship Id="rId43" Type="http://schemas.microsoft.com/office/2007/relationships/diagramDrawing" Target="../diagrams/drawing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7" Type="http://schemas.openxmlformats.org/officeDocument/2006/relationships/image" Target="../media/image45.png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3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0" y="577251"/>
            <a:ext cx="12274995" cy="1885116"/>
          </a:xfrm>
        </p:spPr>
        <p:txBody>
          <a:bodyPr/>
          <a:lstStyle/>
          <a:p>
            <a:r>
              <a:rPr lang="en-US" sz="3200" dirty="0"/>
              <a:t>Total</a:t>
            </a:r>
            <a:r>
              <a:rPr lang="en-US" sz="3600" dirty="0"/>
              <a:t> vehicle quality management tv-435</a:t>
            </a:r>
            <a:br>
              <a:rPr lang="en-US" sz="3600" dirty="0"/>
            </a:br>
            <a:r>
              <a:rPr lang="en-US" sz="3200" dirty="0"/>
              <a:t>Training on problem Solving Methodologies</a:t>
            </a:r>
            <a:br>
              <a:rPr lang="en-GB" dirty="0"/>
            </a:br>
            <a:br>
              <a:rPr lang="de-DE" dirty="0"/>
            </a:b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TV-435 / </a:t>
            </a:r>
            <a:r>
              <a:rPr lang="en-US"/>
              <a:t>Sept 2025</a:t>
            </a:r>
            <a:endParaRPr lang="en-GB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2987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457765BC-9584-22CA-86BB-2B2703DB466E}"/>
              </a:ext>
            </a:extLst>
          </p:cNvPr>
          <p:cNvSpPr txBox="1"/>
          <p:nvPr/>
        </p:nvSpPr>
        <p:spPr>
          <a:xfrm>
            <a:off x="483327" y="1412875"/>
            <a:ext cx="3831735" cy="23237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buClr>
                <a:srgbClr val="035970"/>
              </a:buClr>
              <a:buFont typeface="Arial" panose="020B0604020202020204" pitchFamily="34" charset="0"/>
              <a:buChar char="•"/>
            </a:pPr>
            <a:r>
              <a:rPr lang="en-IN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MEA proactively identifies potential failure points, their effects, and criticality through Risk Priority Numbers (RPN). </a:t>
            </a:r>
            <a:br>
              <a:rPr lang="en-IN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IN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IN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y analysing severity, occurrence, and detection ratings, teams prioritize prevention efforts on highest-risk failures before they occur.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423E98-2688-3CEE-B65C-061A846D7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FAILURE MODE AND EFFECT ANALYSIS (</a:t>
            </a:r>
            <a:r>
              <a:rPr lang="en-US" err="1">
                <a:latin typeface="BMW Group Condensed Bold" panose="020B0806020202020204" pitchFamily="34" charset="0"/>
              </a:rPr>
              <a:t>fmea</a:t>
            </a:r>
            <a:r>
              <a:rPr lang="en-US">
                <a:latin typeface="BMW Group Condensed Bold" panose="020B0806020202020204" pitchFamily="34" charset="0"/>
              </a:rPr>
              <a:t>)</a:t>
            </a:r>
          </a:p>
        </p:txBody>
      </p:sp>
      <p:pic>
        <p:nvPicPr>
          <p:cNvPr id="8" name="Picture Placeholder 7" descr="A diagram of different types of effects&#10;&#10;AI-generated content may be incorrect.">
            <a:extLst>
              <a:ext uri="{FF2B5EF4-FFF2-40B4-BE49-F238E27FC236}">
                <a16:creationId xmlns:a16="http://schemas.microsoft.com/office/drawing/2014/main" id="{F5CD3254-1C85-DA86-726A-FC682F5C739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" r="4356"/>
          <a:stretch/>
        </p:blipFill>
        <p:spPr>
          <a:xfrm>
            <a:off x="4533900" y="1412875"/>
            <a:ext cx="7178675" cy="5019675"/>
          </a:xfr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DBB680B4-E5A2-A4FE-1BC5-44B9E9244411}"/>
              </a:ext>
            </a:extLst>
          </p:cNvPr>
          <p:cNvGrpSpPr/>
          <p:nvPr/>
        </p:nvGrpSpPr>
        <p:grpSpPr>
          <a:xfrm>
            <a:off x="649346" y="3804857"/>
            <a:ext cx="3682586" cy="1331071"/>
            <a:chOff x="481685" y="3742576"/>
            <a:chExt cx="4262834" cy="140529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2EFF80BB-383A-E9FF-3B77-55028EB63BDE}"/>
                </a:ext>
              </a:extLst>
            </p:cNvPr>
            <p:cNvSpPr/>
            <p:nvPr/>
          </p:nvSpPr>
          <p:spPr>
            <a:xfrm>
              <a:off x="481685" y="3742576"/>
              <a:ext cx="4262832" cy="1182074"/>
            </a:xfrm>
            <a:prstGeom prst="roundRect">
              <a:avLst/>
            </a:prstGeom>
            <a:solidFill>
              <a:schemeClr val="accent5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B3F10AD-CA31-9687-E3A9-6615F2C01F4F}"/>
                </a:ext>
              </a:extLst>
            </p:cNvPr>
            <p:cNvSpPr txBox="1"/>
            <p:nvPr/>
          </p:nvSpPr>
          <p:spPr>
            <a:xfrm>
              <a:off x="665341" y="3870597"/>
              <a:ext cx="4079178" cy="127727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tx2"/>
                </a:buClr>
              </a:pPr>
              <a:r>
                <a:rPr lang="en-US"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Use Case: </a:t>
              </a:r>
              <a:br>
                <a:rPr lang="en-US"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400"/>
                <a:t>Deployed during product/process design to identify potential failures before production launch.</a:t>
              </a:r>
            </a:p>
            <a:p>
              <a:pPr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endPara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43B522A-80AB-5C0D-F46B-2E46F44B3604}"/>
              </a:ext>
            </a:extLst>
          </p:cNvPr>
          <p:cNvGrpSpPr/>
          <p:nvPr/>
        </p:nvGrpSpPr>
        <p:grpSpPr>
          <a:xfrm>
            <a:off x="656330" y="5189086"/>
            <a:ext cx="3676316" cy="1119640"/>
            <a:chOff x="488947" y="5130436"/>
            <a:chExt cx="4255576" cy="1182074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B5EF1CF-4F9C-A44A-E3FE-C979EDAC7AA4}"/>
                </a:ext>
              </a:extLst>
            </p:cNvPr>
            <p:cNvSpPr/>
            <p:nvPr/>
          </p:nvSpPr>
          <p:spPr>
            <a:xfrm>
              <a:off x="488947" y="5130436"/>
              <a:ext cx="4255574" cy="1182074"/>
            </a:xfrm>
            <a:prstGeom prst="roundRect">
              <a:avLst/>
            </a:prstGeom>
            <a:solidFill>
              <a:schemeClr val="accent5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D34638C-8A6D-E4B5-063A-F971CE69042F}"/>
                </a:ext>
              </a:extLst>
            </p:cNvPr>
            <p:cNvSpPr txBox="1"/>
            <p:nvPr/>
          </p:nvSpPr>
          <p:spPr>
            <a:xfrm>
              <a:off x="672290" y="5258457"/>
              <a:ext cx="4072233" cy="9233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tx2"/>
                </a:buClr>
              </a:pPr>
              <a:r>
                <a:rPr lang="en-US"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xample: </a:t>
              </a:r>
              <a:br>
                <a:rPr lang="en-US"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IN" sz="140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New assembly line design undergoes FMEA to identify where conveyor system might fail and impact production.</a:t>
              </a:r>
              <a:endPara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7279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032D871-CDDC-31AB-5C7F-AA66A6FCD17D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874440762"/>
              </p:ext>
            </p:extLst>
          </p:nvPr>
        </p:nvGraphicFramePr>
        <p:xfrm>
          <a:off x="488947" y="1413933"/>
          <a:ext cx="5397501" cy="4894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83D7923-DE97-7459-3336-DBE057095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30887"/>
          </a:xfrm>
        </p:spPr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PDCA </a:t>
            </a:r>
            <a:r>
              <a:rPr lang="en-US" sz="2800">
                <a:latin typeface="BMW Group Condensed Bold" panose="020B0806020202020204" pitchFamily="34" charset="0"/>
              </a:rPr>
              <a:t>CYCLE</a:t>
            </a:r>
            <a:endParaRPr lang="en-US">
              <a:latin typeface="BMW Group Condensed Bold" panose="020B0806020202020204" pitchFamily="34" charset="0"/>
            </a:endParaRP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621862"/>
              </p:ext>
            </p:extLst>
          </p:nvPr>
        </p:nvGraphicFramePr>
        <p:xfrm>
          <a:off x="10322415" y="1729789"/>
          <a:ext cx="1380638" cy="783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6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8056">
                <a:tc>
                  <a:txBody>
                    <a:bodyPr/>
                    <a:lstStyle/>
                    <a:p>
                      <a:pPr algn="r"/>
                      <a:r>
                        <a:rPr lang="en-GB" sz="2400" b="1">
                          <a:solidFill>
                            <a:srgbClr val="000000"/>
                          </a:solidFill>
                          <a:latin typeface="BMWGroupTN Condensed" pitchFamily="50" charset="0"/>
                          <a:sym typeface="BMW Group Condensed" panose="020B0606020202020204" pitchFamily="34" charset="0"/>
                        </a:rPr>
                        <a:t>DO</a:t>
                      </a: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286AB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09">
                <a:tc>
                  <a:txBody>
                    <a:bodyPr/>
                    <a:lstStyle/>
                    <a:p>
                      <a:pPr algn="r"/>
                      <a:endParaRPr lang="en-GB" b="1">
                        <a:latin typeface="BMWGroupTN Condensed" pitchFamily="50" charset="0"/>
                        <a:sym typeface="BMW Group Condensed" panose="020B0606020202020204" pitchFamily="34" charset="0"/>
                      </a:endParaRP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384733"/>
              </p:ext>
            </p:extLst>
          </p:nvPr>
        </p:nvGraphicFramePr>
        <p:xfrm>
          <a:off x="6333475" y="1729789"/>
          <a:ext cx="1391873" cy="783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18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8056">
                <a:tc>
                  <a:txBody>
                    <a:bodyPr/>
                    <a:lstStyle/>
                    <a:p>
                      <a:pPr algn="l"/>
                      <a:r>
                        <a:rPr lang="en-GB" sz="2400" b="1">
                          <a:solidFill>
                            <a:srgbClr val="000000"/>
                          </a:solidFill>
                          <a:latin typeface="BMWGroupTN Condensed" pitchFamily="50" charset="0"/>
                          <a:sym typeface="BMW Group Condensed" panose="020B0606020202020204" pitchFamily="34" charset="0"/>
                        </a:rPr>
                        <a:t>PLAN</a:t>
                      </a: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286AB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09">
                <a:tc>
                  <a:txBody>
                    <a:bodyPr/>
                    <a:lstStyle/>
                    <a:p>
                      <a:pPr algn="l"/>
                      <a:endParaRPr lang="en-GB" b="1">
                        <a:latin typeface="BMWGroupTN Condensed" pitchFamily="50" charset="0"/>
                        <a:sym typeface="BMW Group Condensed" panose="020B0606020202020204" pitchFamily="34" charset="0"/>
                      </a:endParaRP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7" name="Tabelle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168570"/>
              </p:ext>
            </p:extLst>
          </p:nvPr>
        </p:nvGraphicFramePr>
        <p:xfrm>
          <a:off x="10144810" y="5087398"/>
          <a:ext cx="1558243" cy="783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82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8056">
                <a:tc>
                  <a:txBody>
                    <a:bodyPr/>
                    <a:lstStyle/>
                    <a:p>
                      <a:pPr algn="r"/>
                      <a:r>
                        <a:rPr lang="en-GB" sz="2400" b="1">
                          <a:solidFill>
                            <a:srgbClr val="000000"/>
                          </a:solidFill>
                          <a:latin typeface="BMWGroupTN Condensed" pitchFamily="50" charset="0"/>
                          <a:sym typeface="BMW Group Condensed" panose="020B0606020202020204" pitchFamily="34" charset="0"/>
                        </a:rPr>
                        <a:t>CHECK</a:t>
                      </a: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286AB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09">
                <a:tc>
                  <a:txBody>
                    <a:bodyPr/>
                    <a:lstStyle/>
                    <a:p>
                      <a:pPr algn="r"/>
                      <a:endParaRPr lang="en-GB" b="1">
                        <a:latin typeface="BMWGroupTN Condensed" pitchFamily="50" charset="0"/>
                        <a:sym typeface="BMW Group Condensed" panose="020B0606020202020204" pitchFamily="34" charset="0"/>
                      </a:endParaRP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8" name="Tabelle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970786"/>
              </p:ext>
            </p:extLst>
          </p:nvPr>
        </p:nvGraphicFramePr>
        <p:xfrm>
          <a:off x="6333475" y="5082118"/>
          <a:ext cx="1391873" cy="783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18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8056">
                <a:tc>
                  <a:txBody>
                    <a:bodyPr/>
                    <a:lstStyle/>
                    <a:p>
                      <a:pPr algn="l"/>
                      <a:r>
                        <a:rPr lang="en-GB" sz="2400" b="1">
                          <a:solidFill>
                            <a:srgbClr val="000000"/>
                          </a:solidFill>
                          <a:latin typeface="BMWGroupTN Condensed" pitchFamily="50" charset="0"/>
                          <a:sym typeface="BMW Group Condensed" panose="020B0606020202020204" pitchFamily="34" charset="0"/>
                        </a:rPr>
                        <a:t>ACT</a:t>
                      </a: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286AB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09">
                <a:tc>
                  <a:txBody>
                    <a:bodyPr/>
                    <a:lstStyle/>
                    <a:p>
                      <a:pPr algn="l"/>
                      <a:endParaRPr lang="en-GB" b="1">
                        <a:latin typeface="BMWGroupTN Condensed" pitchFamily="50" charset="0"/>
                        <a:sym typeface="BMW Group Condensed" panose="020B0606020202020204" pitchFamily="34" charset="0"/>
                      </a:endParaRPr>
                    </a:p>
                  </a:txBody>
                  <a:tcPr marL="72009" marR="72009" marT="35941" marB="35941">
                    <a:lnL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880DD46-712F-C7DF-F7D5-3DA0EF7D5AA2}"/>
              </a:ext>
            </a:extLst>
          </p:cNvPr>
          <p:cNvGrpSpPr/>
          <p:nvPr/>
        </p:nvGrpSpPr>
        <p:grpSpPr>
          <a:xfrm>
            <a:off x="7021907" y="1820174"/>
            <a:ext cx="4037164" cy="4045789"/>
            <a:chOff x="7073660" y="1518254"/>
            <a:chExt cx="2794950" cy="2793830"/>
          </a:xfrm>
        </p:grpSpPr>
        <p:sp>
          <p:nvSpPr>
            <p:cNvPr id="50" name="Bogen 49"/>
            <p:cNvSpPr/>
            <p:nvPr/>
          </p:nvSpPr>
          <p:spPr>
            <a:xfrm>
              <a:off x="7073660" y="1518254"/>
              <a:ext cx="2794949" cy="2793830"/>
            </a:xfrm>
            <a:prstGeom prst="arc">
              <a:avLst/>
            </a:prstGeom>
            <a:ln w="254000">
              <a:solidFill>
                <a:schemeClr val="accent1">
                  <a:lumMod val="60000"/>
                  <a:lumOff val="40000"/>
                </a:schemeClr>
              </a:solidFill>
              <a:headEnd type="none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1" name="Bogen 50"/>
            <p:cNvSpPr/>
            <p:nvPr/>
          </p:nvSpPr>
          <p:spPr>
            <a:xfrm rot="5400000">
              <a:off x="7074220" y="1517694"/>
              <a:ext cx="2793830" cy="2794949"/>
            </a:xfrm>
            <a:prstGeom prst="arc">
              <a:avLst/>
            </a:prstGeom>
            <a:ln w="254000">
              <a:solidFill>
                <a:schemeClr val="accent1">
                  <a:lumMod val="60000"/>
                  <a:lumOff val="40000"/>
                </a:schemeClr>
              </a:solidFill>
              <a:headEnd type="none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2" name="Bogen 51"/>
            <p:cNvSpPr/>
            <p:nvPr/>
          </p:nvSpPr>
          <p:spPr>
            <a:xfrm rot="10800000">
              <a:off x="7073661" y="1518254"/>
              <a:ext cx="2794949" cy="2793830"/>
            </a:xfrm>
            <a:prstGeom prst="arc">
              <a:avLst/>
            </a:prstGeom>
            <a:ln w="254000">
              <a:solidFill>
                <a:schemeClr val="accent1">
                  <a:lumMod val="60000"/>
                  <a:lumOff val="40000"/>
                </a:schemeClr>
              </a:solidFill>
              <a:headEnd type="none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3" name="Bogen 52"/>
            <p:cNvSpPr/>
            <p:nvPr/>
          </p:nvSpPr>
          <p:spPr>
            <a:xfrm rot="16200000">
              <a:off x="7074220" y="1517694"/>
              <a:ext cx="2793830" cy="2794949"/>
            </a:xfrm>
            <a:prstGeom prst="arc">
              <a:avLst/>
            </a:prstGeom>
            <a:ln w="254000">
              <a:solidFill>
                <a:schemeClr val="accent1">
                  <a:lumMod val="60000"/>
                  <a:lumOff val="40000"/>
                </a:schemeClr>
              </a:solidFill>
              <a:headEnd type="none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4779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A7E3138-7581-4E62-B91E-02EA68F39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A7E3138-7581-4E62-B91E-02EA68F39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9E8CA963-BEE2-4C9F-8129-9BF941CF5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44488"/>
            <a:ext cx="3588228" cy="400110"/>
          </a:xfrm>
        </p:spPr>
        <p:txBody>
          <a:bodyPr vert="horz"/>
          <a:lstStyle/>
          <a:p>
            <a:r>
              <a:rPr lang="en-GB" dirty="0">
                <a:latin typeface="BMW Group Condensed Bold" panose="020B0806020202020204" pitchFamily="34" charset="0"/>
              </a:rPr>
              <a:t>CAUSE ANALYSIS TOOLS</a:t>
            </a: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7541F978-83BE-B85B-F0C7-6E8F6DDE50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4496498"/>
              </p:ext>
            </p:extLst>
          </p:nvPr>
        </p:nvGraphicFramePr>
        <p:xfrm>
          <a:off x="479425" y="1412875"/>
          <a:ext cx="10760075" cy="4530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87261449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A7E3138-7581-4E62-B91E-02EA68F39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A7E3138-7581-4E62-B91E-02EA68F39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9E8CA963-BEE2-4C9F-8129-9BF941CF5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44488"/>
            <a:ext cx="3588228" cy="400110"/>
          </a:xfrm>
        </p:spPr>
        <p:txBody>
          <a:bodyPr vert="horz"/>
          <a:lstStyle/>
          <a:p>
            <a:r>
              <a:rPr lang="en-GB" dirty="0">
                <a:latin typeface="BMW Group Condensed Bold" panose="020B0806020202020204" pitchFamily="34" charset="0"/>
              </a:rPr>
              <a:t>ROOT Cause Analysi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E2874EC-0263-35CC-3658-352B5C4AB57B}"/>
              </a:ext>
            </a:extLst>
          </p:cNvPr>
          <p:cNvCxnSpPr>
            <a:cxnSpLocks/>
          </p:cNvCxnSpPr>
          <p:nvPr/>
        </p:nvCxnSpPr>
        <p:spPr>
          <a:xfrm>
            <a:off x="11430348" y="1847850"/>
            <a:ext cx="0" cy="4085936"/>
          </a:xfrm>
          <a:prstGeom prst="straightConnector1">
            <a:avLst/>
          </a:prstGeom>
          <a:ln w="177800" cmpd="sng">
            <a:solidFill>
              <a:schemeClr val="tx2"/>
            </a:solidFill>
            <a:miter lim="800000"/>
            <a:tailEnd type="triangle" w="med" len="med"/>
          </a:ln>
          <a:effectLst/>
          <a:scene3d>
            <a:camera prst="orthographicFront">
              <a:rot lat="0" lon="0" rev="0"/>
            </a:camera>
            <a:lightRig rig="harsh" dir="t">
              <a:rot lat="0" lon="0" rev="3600000"/>
            </a:lightRig>
          </a:scene3d>
          <a:sp3d extrusionH="57150" contourW="6350" prstMaterial="metal">
            <a:bevelT w="63500" h="69850"/>
            <a:bevelB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B526E-B6AA-F142-58C6-E1B1DC1BF58A}"/>
              </a:ext>
            </a:extLst>
          </p:cNvPr>
          <p:cNvGrpSpPr/>
          <p:nvPr/>
        </p:nvGrpSpPr>
        <p:grpSpPr>
          <a:xfrm>
            <a:off x="6672985" y="1412875"/>
            <a:ext cx="4509365" cy="4895850"/>
            <a:chOff x="7402131" y="446774"/>
            <a:chExt cx="3657841" cy="550820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EC1AF26-8616-8496-56CA-2EBDBC637518}"/>
                </a:ext>
              </a:extLst>
            </p:cNvPr>
            <p:cNvGrpSpPr/>
            <p:nvPr/>
          </p:nvGrpSpPr>
          <p:grpSpPr>
            <a:xfrm>
              <a:off x="7402131" y="1030796"/>
              <a:ext cx="3657841" cy="4229269"/>
              <a:chOff x="7402131" y="1030796"/>
              <a:chExt cx="3657841" cy="4229269"/>
            </a:xfrm>
          </p:grpSpPr>
          <p:sp>
            <p:nvSpPr>
              <p:cNvPr id="56" name="Oval 34"/>
              <p:cNvSpPr>
                <a:spLocks noChangeArrowheads="1"/>
              </p:cNvSpPr>
              <p:nvPr/>
            </p:nvSpPr>
            <p:spPr bwMode="gray">
              <a:xfrm>
                <a:off x="8570926" y="3818434"/>
                <a:ext cx="1349201" cy="156915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7" name="Oval 34"/>
              <p:cNvSpPr>
                <a:spLocks noChangeArrowheads="1"/>
              </p:cNvSpPr>
              <p:nvPr/>
            </p:nvSpPr>
            <p:spPr bwMode="gray">
              <a:xfrm>
                <a:off x="8063891" y="2439638"/>
                <a:ext cx="2349643" cy="273268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8" name="Oval 34"/>
              <p:cNvSpPr>
                <a:spLocks noChangeArrowheads="1"/>
              </p:cNvSpPr>
              <p:nvPr/>
            </p:nvSpPr>
            <p:spPr bwMode="gray">
              <a:xfrm>
                <a:off x="7760551" y="1745580"/>
                <a:ext cx="2936027" cy="341469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9" name="Oval 34"/>
              <p:cNvSpPr>
                <a:spLocks noChangeArrowheads="1"/>
              </p:cNvSpPr>
              <p:nvPr/>
            </p:nvSpPr>
            <p:spPr bwMode="gray">
              <a:xfrm>
                <a:off x="8341427" y="3132385"/>
                <a:ext cx="1813847" cy="210953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0" name="Oval 34"/>
              <p:cNvSpPr>
                <a:spLocks noChangeArrowheads="1"/>
              </p:cNvSpPr>
              <p:nvPr/>
            </p:nvSpPr>
            <p:spPr bwMode="gray">
              <a:xfrm>
                <a:off x="8769457" y="4510186"/>
                <a:ext cx="952139" cy="110737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1" name="Oval 34"/>
              <p:cNvSpPr>
                <a:spLocks noChangeArrowheads="1"/>
              </p:cNvSpPr>
              <p:nvPr/>
            </p:nvSpPr>
            <p:spPr bwMode="gray">
              <a:xfrm>
                <a:off x="7407238" y="1030796"/>
                <a:ext cx="3652734" cy="424823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2" name="Oval 35"/>
              <p:cNvSpPr>
                <a:spLocks noChangeArrowheads="1"/>
              </p:cNvSpPr>
              <p:nvPr/>
            </p:nvSpPr>
            <p:spPr bwMode="gray">
              <a:xfrm>
                <a:off x="8926749" y="5192046"/>
                <a:ext cx="603496" cy="68016"/>
              </a:xfrm>
              <a:prstGeom prst="ellipse">
                <a:avLst/>
              </a:pr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50800" h="50800"/>
              </a:sp3d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3" name="Freeform 33"/>
              <p:cNvSpPr>
                <a:spLocks/>
              </p:cNvSpPr>
              <p:nvPr/>
            </p:nvSpPr>
            <p:spPr bwMode="gray">
              <a:xfrm>
                <a:off x="7402131" y="1227039"/>
                <a:ext cx="3657500" cy="4033025"/>
              </a:xfrm>
              <a:custGeom>
                <a:avLst/>
                <a:gdLst>
                  <a:gd name="T0" fmla="*/ 794 w 796"/>
                  <a:gd name="T1" fmla="*/ 0 h 882"/>
                  <a:gd name="T2" fmla="*/ 795 w 796"/>
                  <a:gd name="T3" fmla="*/ 3 h 882"/>
                  <a:gd name="T4" fmla="*/ 397 w 796"/>
                  <a:gd name="T5" fmla="*/ 50 h 882"/>
                  <a:gd name="T6" fmla="*/ 1 w 796"/>
                  <a:gd name="T7" fmla="*/ 6 h 882"/>
                  <a:gd name="T8" fmla="*/ 0 w 796"/>
                  <a:gd name="T9" fmla="*/ 6 h 882"/>
                  <a:gd name="T10" fmla="*/ 332 w 796"/>
                  <a:gd name="T11" fmla="*/ 875 h 882"/>
                  <a:gd name="T12" fmla="*/ 333 w 796"/>
                  <a:gd name="T13" fmla="*/ 875 h 882"/>
                  <a:gd name="T14" fmla="*/ 398 w 796"/>
                  <a:gd name="T15" fmla="*/ 882 h 882"/>
                  <a:gd name="T16" fmla="*/ 463 w 796"/>
                  <a:gd name="T17" fmla="*/ 875 h 882"/>
                  <a:gd name="T18" fmla="*/ 463 w 796"/>
                  <a:gd name="T19" fmla="*/ 875 h 882"/>
                  <a:gd name="T20" fmla="*/ 795 w 796"/>
                  <a:gd name="T21" fmla="*/ 6 h 882"/>
                  <a:gd name="T22" fmla="*/ 794 w 796"/>
                  <a:gd name="T23" fmla="*/ 0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96" h="882">
                    <a:moveTo>
                      <a:pt x="794" y="0"/>
                    </a:moveTo>
                    <a:cubicBezTo>
                      <a:pt x="795" y="1"/>
                      <a:pt x="795" y="2"/>
                      <a:pt x="795" y="3"/>
                    </a:cubicBezTo>
                    <a:cubicBezTo>
                      <a:pt x="795" y="29"/>
                      <a:pt x="617" y="50"/>
                      <a:pt x="397" y="50"/>
                    </a:cubicBezTo>
                    <a:cubicBezTo>
                      <a:pt x="185" y="50"/>
                      <a:pt x="12" y="30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226" y="381"/>
                      <a:pt x="332" y="875"/>
                    </a:cubicBezTo>
                    <a:cubicBezTo>
                      <a:pt x="333" y="875"/>
                      <a:pt x="333" y="875"/>
                      <a:pt x="333" y="875"/>
                    </a:cubicBezTo>
                    <a:cubicBezTo>
                      <a:pt x="335" y="879"/>
                      <a:pt x="363" y="882"/>
                      <a:pt x="398" y="882"/>
                    </a:cubicBezTo>
                    <a:cubicBezTo>
                      <a:pt x="432" y="882"/>
                      <a:pt x="460" y="879"/>
                      <a:pt x="463" y="875"/>
                    </a:cubicBezTo>
                    <a:cubicBezTo>
                      <a:pt x="463" y="875"/>
                      <a:pt x="463" y="875"/>
                      <a:pt x="463" y="875"/>
                    </a:cubicBezTo>
                    <a:cubicBezTo>
                      <a:pt x="463" y="875"/>
                      <a:pt x="605" y="325"/>
                      <a:pt x="795" y="6"/>
                    </a:cubicBezTo>
                    <a:cubicBezTo>
                      <a:pt x="796" y="4"/>
                      <a:pt x="796" y="2"/>
                      <a:pt x="79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balanced" dir="t"/>
              </a:scene3d>
              <a:sp3d prstMaterial="clear">
                <a:bevelT w="127000" h="127000"/>
              </a:sp3d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49" name="Gruppieren 48"/>
              <p:cNvGrpSpPr/>
              <p:nvPr/>
            </p:nvGrpSpPr>
            <p:grpSpPr bwMode="gray">
              <a:xfrm>
                <a:off x="7412344" y="1243406"/>
                <a:ext cx="3645103" cy="4016659"/>
                <a:chOff x="6385264" y="3918024"/>
                <a:chExt cx="1699565" cy="1872806"/>
              </a:xfrm>
            </p:grpSpPr>
            <p:sp>
              <p:nvSpPr>
                <p:cNvPr id="50" name="Freeform 222"/>
                <p:cNvSpPr>
                  <a:spLocks/>
                </p:cNvSpPr>
                <p:nvPr/>
              </p:nvSpPr>
              <p:spPr bwMode="gray">
                <a:xfrm>
                  <a:off x="7019188" y="5467008"/>
                  <a:ext cx="442787" cy="323822"/>
                </a:xfrm>
                <a:custGeom>
                  <a:avLst/>
                  <a:gdLst>
                    <a:gd name="T0" fmla="*/ 103 w 207"/>
                    <a:gd name="T1" fmla="*/ 12 h 152"/>
                    <a:gd name="T2" fmla="*/ 0 w 207"/>
                    <a:gd name="T3" fmla="*/ 0 h 152"/>
                    <a:gd name="T4" fmla="*/ 35 w 207"/>
                    <a:gd name="T5" fmla="*/ 145 h 152"/>
                    <a:gd name="T6" fmla="*/ 35 w 207"/>
                    <a:gd name="T7" fmla="*/ 145 h 152"/>
                    <a:gd name="T8" fmla="*/ 101 w 207"/>
                    <a:gd name="T9" fmla="*/ 152 h 152"/>
                    <a:gd name="T10" fmla="*/ 166 w 207"/>
                    <a:gd name="T11" fmla="*/ 145 h 152"/>
                    <a:gd name="T12" fmla="*/ 166 w 207"/>
                    <a:gd name="T13" fmla="*/ 145 h 152"/>
                    <a:gd name="T14" fmla="*/ 207 w 207"/>
                    <a:gd name="T15" fmla="*/ 0 h 152"/>
                    <a:gd name="T16" fmla="*/ 103 w 207"/>
                    <a:gd name="T17" fmla="*/ 12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7" h="152">
                      <a:moveTo>
                        <a:pt x="103" y="12"/>
                      </a:moveTo>
                      <a:cubicBezTo>
                        <a:pt x="48" y="12"/>
                        <a:pt x="3" y="7"/>
                        <a:pt x="0" y="0"/>
                      </a:cubicBezTo>
                      <a:cubicBezTo>
                        <a:pt x="12" y="47"/>
                        <a:pt x="24" y="96"/>
                        <a:pt x="35" y="145"/>
                      </a:cubicBezTo>
                      <a:cubicBezTo>
                        <a:pt x="35" y="145"/>
                        <a:pt x="35" y="145"/>
                        <a:pt x="35" y="145"/>
                      </a:cubicBezTo>
                      <a:cubicBezTo>
                        <a:pt x="38" y="149"/>
                        <a:pt x="66" y="152"/>
                        <a:pt x="101" y="152"/>
                      </a:cubicBezTo>
                      <a:cubicBezTo>
                        <a:pt x="135" y="152"/>
                        <a:pt x="163" y="149"/>
                        <a:pt x="166" y="145"/>
                      </a:cubicBezTo>
                      <a:cubicBezTo>
                        <a:pt x="166" y="145"/>
                        <a:pt x="166" y="145"/>
                        <a:pt x="166" y="145"/>
                      </a:cubicBezTo>
                      <a:cubicBezTo>
                        <a:pt x="166" y="145"/>
                        <a:pt x="181" y="88"/>
                        <a:pt x="207" y="0"/>
                      </a:cubicBezTo>
                      <a:cubicBezTo>
                        <a:pt x="203" y="7"/>
                        <a:pt x="158" y="12"/>
                        <a:pt x="103" y="12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/>
                <a:p>
                  <a:pPr algn="ctr">
                    <a:lnSpc>
                      <a:spcPct val="200000"/>
                    </a:lnSpc>
                  </a:pPr>
                  <a:r>
                    <a:rPr lang="en-GB" sz="1700" b="1">
                      <a:solidFill>
                        <a:schemeClr val="bg1">
                          <a:lumMod val="95000"/>
                        </a:schemeClr>
                      </a:solidFill>
                    </a:rPr>
                    <a:t>MONITOR</a:t>
                  </a:r>
                </a:p>
              </p:txBody>
            </p:sp>
            <p:sp>
              <p:nvSpPr>
                <p:cNvPr id="51" name="Freeform 223"/>
                <p:cNvSpPr>
                  <a:spLocks/>
                </p:cNvSpPr>
                <p:nvPr/>
              </p:nvSpPr>
              <p:spPr bwMode="gray">
                <a:xfrm>
                  <a:off x="6925464" y="5160848"/>
                  <a:ext cx="632448" cy="331918"/>
                </a:xfrm>
                <a:custGeom>
                  <a:avLst/>
                  <a:gdLst>
                    <a:gd name="T0" fmla="*/ 148 w 296"/>
                    <a:gd name="T1" fmla="*/ 16 h 156"/>
                    <a:gd name="T2" fmla="*/ 0 w 296"/>
                    <a:gd name="T3" fmla="*/ 0 h 156"/>
                    <a:gd name="T4" fmla="*/ 44 w 296"/>
                    <a:gd name="T5" fmla="*/ 144 h 156"/>
                    <a:gd name="T6" fmla="*/ 44 w 296"/>
                    <a:gd name="T7" fmla="*/ 144 h 156"/>
                    <a:gd name="T8" fmla="*/ 147 w 296"/>
                    <a:gd name="T9" fmla="*/ 156 h 156"/>
                    <a:gd name="T10" fmla="*/ 251 w 296"/>
                    <a:gd name="T11" fmla="*/ 144 h 156"/>
                    <a:gd name="T12" fmla="*/ 251 w 296"/>
                    <a:gd name="T13" fmla="*/ 144 h 156"/>
                    <a:gd name="T14" fmla="*/ 296 w 296"/>
                    <a:gd name="T15" fmla="*/ 0 h 156"/>
                    <a:gd name="T16" fmla="*/ 148 w 296"/>
                    <a:gd name="T17" fmla="*/ 1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6" h="156">
                      <a:moveTo>
                        <a:pt x="148" y="16"/>
                      </a:moveTo>
                      <a:cubicBezTo>
                        <a:pt x="70" y="16"/>
                        <a:pt x="6" y="9"/>
                        <a:pt x="0" y="0"/>
                      </a:cubicBezTo>
                      <a:cubicBezTo>
                        <a:pt x="16" y="46"/>
                        <a:pt x="30" y="94"/>
                        <a:pt x="44" y="144"/>
                      </a:cubicBezTo>
                      <a:cubicBezTo>
                        <a:pt x="44" y="144"/>
                        <a:pt x="44" y="144"/>
                        <a:pt x="44" y="144"/>
                      </a:cubicBezTo>
                      <a:cubicBezTo>
                        <a:pt x="47" y="151"/>
                        <a:pt x="92" y="156"/>
                        <a:pt x="147" y="156"/>
                      </a:cubicBezTo>
                      <a:cubicBezTo>
                        <a:pt x="202" y="156"/>
                        <a:pt x="247" y="151"/>
                        <a:pt x="251" y="144"/>
                      </a:cubicBezTo>
                      <a:cubicBezTo>
                        <a:pt x="251" y="144"/>
                        <a:pt x="251" y="144"/>
                        <a:pt x="251" y="144"/>
                      </a:cubicBezTo>
                      <a:cubicBezTo>
                        <a:pt x="264" y="102"/>
                        <a:pt x="279" y="53"/>
                        <a:pt x="296" y="0"/>
                      </a:cubicBezTo>
                      <a:cubicBezTo>
                        <a:pt x="291" y="9"/>
                        <a:pt x="227" y="16"/>
                        <a:pt x="148" y="1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/>
                <a:p>
                  <a:pPr algn="ctr">
                    <a:lnSpc>
                      <a:spcPct val="200000"/>
                    </a:lnSpc>
                  </a:pPr>
                  <a:r>
                    <a:rPr lang="en-GB" b="1"/>
                    <a:t>CREATE</a:t>
                  </a:r>
                </a:p>
              </p:txBody>
            </p:sp>
            <p:sp>
              <p:nvSpPr>
                <p:cNvPr id="52" name="Freeform 224"/>
                <p:cNvSpPr>
                  <a:spLocks/>
                </p:cNvSpPr>
                <p:nvPr/>
              </p:nvSpPr>
              <p:spPr bwMode="gray">
                <a:xfrm>
                  <a:off x="6818458" y="4852481"/>
                  <a:ext cx="845724" cy="342221"/>
                </a:xfrm>
                <a:custGeom>
                  <a:avLst/>
                  <a:gdLst>
                    <a:gd name="T0" fmla="*/ 198 w 396"/>
                    <a:gd name="T1" fmla="*/ 22 h 161"/>
                    <a:gd name="T2" fmla="*/ 0 w 396"/>
                    <a:gd name="T3" fmla="*/ 0 h 161"/>
                    <a:gd name="T4" fmla="*/ 50 w 396"/>
                    <a:gd name="T5" fmla="*/ 143 h 161"/>
                    <a:gd name="T6" fmla="*/ 50 w 396"/>
                    <a:gd name="T7" fmla="*/ 145 h 161"/>
                    <a:gd name="T8" fmla="*/ 198 w 396"/>
                    <a:gd name="T9" fmla="*/ 161 h 161"/>
                    <a:gd name="T10" fmla="*/ 346 w 396"/>
                    <a:gd name="T11" fmla="*/ 145 h 161"/>
                    <a:gd name="T12" fmla="*/ 347 w 396"/>
                    <a:gd name="T13" fmla="*/ 143 h 161"/>
                    <a:gd name="T14" fmla="*/ 396 w 396"/>
                    <a:gd name="T15" fmla="*/ 0 h 161"/>
                    <a:gd name="T16" fmla="*/ 198 w 396"/>
                    <a:gd name="T17" fmla="*/ 22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6" h="161">
                      <a:moveTo>
                        <a:pt x="198" y="22"/>
                      </a:moveTo>
                      <a:cubicBezTo>
                        <a:pt x="93" y="22"/>
                        <a:pt x="8" y="12"/>
                        <a:pt x="0" y="0"/>
                      </a:cubicBezTo>
                      <a:cubicBezTo>
                        <a:pt x="17" y="45"/>
                        <a:pt x="34" y="93"/>
                        <a:pt x="50" y="143"/>
                      </a:cubicBezTo>
                      <a:cubicBezTo>
                        <a:pt x="50" y="144"/>
                        <a:pt x="50" y="144"/>
                        <a:pt x="50" y="145"/>
                      </a:cubicBezTo>
                      <a:cubicBezTo>
                        <a:pt x="56" y="154"/>
                        <a:pt x="120" y="161"/>
                        <a:pt x="198" y="161"/>
                      </a:cubicBezTo>
                      <a:cubicBezTo>
                        <a:pt x="277" y="161"/>
                        <a:pt x="341" y="154"/>
                        <a:pt x="346" y="145"/>
                      </a:cubicBezTo>
                      <a:cubicBezTo>
                        <a:pt x="346" y="144"/>
                        <a:pt x="346" y="144"/>
                        <a:pt x="347" y="143"/>
                      </a:cubicBezTo>
                      <a:cubicBezTo>
                        <a:pt x="361" y="98"/>
                        <a:pt x="378" y="50"/>
                        <a:pt x="396" y="0"/>
                      </a:cubicBezTo>
                      <a:cubicBezTo>
                        <a:pt x="388" y="12"/>
                        <a:pt x="302" y="22"/>
                        <a:pt x="198" y="22"/>
                      </a:cubicBezTo>
                      <a:close/>
                    </a:path>
                  </a:pathLst>
                </a:custGeom>
                <a:solidFill>
                  <a:schemeClr val="accent1">
                    <a:alpha val="50000"/>
                  </a:scheme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/>
                <a:p>
                  <a:pPr algn="ctr">
                    <a:lnSpc>
                      <a:spcPct val="200000"/>
                    </a:lnSpc>
                  </a:pPr>
                  <a:r>
                    <a:rPr lang="en-GB" b="1"/>
                    <a:t>FIND</a:t>
                  </a:r>
                </a:p>
              </p:txBody>
            </p:sp>
            <p:sp>
              <p:nvSpPr>
                <p:cNvPr id="53" name="Freeform 225"/>
                <p:cNvSpPr>
                  <a:spLocks/>
                </p:cNvSpPr>
                <p:nvPr/>
              </p:nvSpPr>
              <p:spPr bwMode="gray">
                <a:xfrm>
                  <a:off x="6692263" y="4545586"/>
                  <a:ext cx="1089257" cy="353261"/>
                </a:xfrm>
                <a:custGeom>
                  <a:avLst/>
                  <a:gdLst>
                    <a:gd name="T0" fmla="*/ 255 w 510"/>
                    <a:gd name="T1" fmla="*/ 29 h 166"/>
                    <a:gd name="T2" fmla="*/ 0 w 510"/>
                    <a:gd name="T3" fmla="*/ 0 h 166"/>
                    <a:gd name="T4" fmla="*/ 58 w 510"/>
                    <a:gd name="T5" fmla="*/ 142 h 166"/>
                    <a:gd name="T6" fmla="*/ 59 w 510"/>
                    <a:gd name="T7" fmla="*/ 144 h 166"/>
                    <a:gd name="T8" fmla="*/ 257 w 510"/>
                    <a:gd name="T9" fmla="*/ 166 h 166"/>
                    <a:gd name="T10" fmla="*/ 455 w 510"/>
                    <a:gd name="T11" fmla="*/ 144 h 166"/>
                    <a:gd name="T12" fmla="*/ 456 w 510"/>
                    <a:gd name="T13" fmla="*/ 142 h 166"/>
                    <a:gd name="T14" fmla="*/ 510 w 510"/>
                    <a:gd name="T15" fmla="*/ 0 h 166"/>
                    <a:gd name="T16" fmla="*/ 255 w 510"/>
                    <a:gd name="T17" fmla="*/ 29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0" h="166">
                      <a:moveTo>
                        <a:pt x="255" y="29"/>
                      </a:moveTo>
                      <a:cubicBezTo>
                        <a:pt x="123" y="29"/>
                        <a:pt x="14" y="17"/>
                        <a:pt x="0" y="0"/>
                      </a:cubicBezTo>
                      <a:cubicBezTo>
                        <a:pt x="19" y="44"/>
                        <a:pt x="39" y="91"/>
                        <a:pt x="58" y="142"/>
                      </a:cubicBezTo>
                      <a:cubicBezTo>
                        <a:pt x="58" y="143"/>
                        <a:pt x="58" y="144"/>
                        <a:pt x="59" y="144"/>
                      </a:cubicBezTo>
                      <a:cubicBezTo>
                        <a:pt x="67" y="156"/>
                        <a:pt x="152" y="166"/>
                        <a:pt x="257" y="166"/>
                      </a:cubicBezTo>
                      <a:cubicBezTo>
                        <a:pt x="361" y="166"/>
                        <a:pt x="447" y="156"/>
                        <a:pt x="455" y="144"/>
                      </a:cubicBezTo>
                      <a:cubicBezTo>
                        <a:pt x="455" y="143"/>
                        <a:pt x="455" y="143"/>
                        <a:pt x="456" y="142"/>
                      </a:cubicBezTo>
                      <a:cubicBezTo>
                        <a:pt x="472" y="96"/>
                        <a:pt x="491" y="48"/>
                        <a:pt x="510" y="0"/>
                      </a:cubicBezTo>
                      <a:cubicBezTo>
                        <a:pt x="497" y="17"/>
                        <a:pt x="388" y="29"/>
                        <a:pt x="255" y="29"/>
                      </a:cubicBezTo>
                      <a:close/>
                    </a:path>
                  </a:pathLst>
                </a:custGeom>
                <a:solidFill>
                  <a:srgbClr val="999999">
                    <a:alpha val="5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/>
                <a:p>
                  <a:pPr algn="ctr">
                    <a:lnSpc>
                      <a:spcPct val="200000"/>
                    </a:lnSpc>
                  </a:pPr>
                  <a:r>
                    <a:rPr lang="en-GB" b="1"/>
                    <a:t>LOCATE</a:t>
                  </a:r>
                </a:p>
              </p:txBody>
            </p:sp>
            <p:sp>
              <p:nvSpPr>
                <p:cNvPr id="54" name="Freeform 226"/>
                <p:cNvSpPr>
                  <a:spLocks/>
                </p:cNvSpPr>
                <p:nvPr/>
              </p:nvSpPr>
              <p:spPr bwMode="gray">
                <a:xfrm>
                  <a:off x="6552046" y="4241634"/>
                  <a:ext cx="1364523" cy="365772"/>
                </a:xfrm>
                <a:custGeom>
                  <a:avLst/>
                  <a:gdLst>
                    <a:gd name="T0" fmla="*/ 319 w 639"/>
                    <a:gd name="T1" fmla="*/ 35 h 172"/>
                    <a:gd name="T2" fmla="*/ 0 w 639"/>
                    <a:gd name="T3" fmla="*/ 0 h 172"/>
                    <a:gd name="T4" fmla="*/ 65 w 639"/>
                    <a:gd name="T5" fmla="*/ 140 h 172"/>
                    <a:gd name="T6" fmla="*/ 66 w 639"/>
                    <a:gd name="T7" fmla="*/ 143 h 172"/>
                    <a:gd name="T8" fmla="*/ 321 w 639"/>
                    <a:gd name="T9" fmla="*/ 172 h 172"/>
                    <a:gd name="T10" fmla="*/ 576 w 639"/>
                    <a:gd name="T11" fmla="*/ 143 h 172"/>
                    <a:gd name="T12" fmla="*/ 577 w 639"/>
                    <a:gd name="T13" fmla="*/ 140 h 172"/>
                    <a:gd name="T14" fmla="*/ 639 w 639"/>
                    <a:gd name="T15" fmla="*/ 0 h 172"/>
                    <a:gd name="T16" fmla="*/ 319 w 639"/>
                    <a:gd name="T17" fmla="*/ 35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39" h="172">
                      <a:moveTo>
                        <a:pt x="319" y="35"/>
                      </a:moveTo>
                      <a:cubicBezTo>
                        <a:pt x="155" y="35"/>
                        <a:pt x="19" y="20"/>
                        <a:pt x="0" y="0"/>
                      </a:cubicBezTo>
                      <a:cubicBezTo>
                        <a:pt x="20" y="40"/>
                        <a:pt x="42" y="87"/>
                        <a:pt x="65" y="140"/>
                      </a:cubicBezTo>
                      <a:cubicBezTo>
                        <a:pt x="65" y="141"/>
                        <a:pt x="66" y="142"/>
                        <a:pt x="66" y="143"/>
                      </a:cubicBezTo>
                      <a:cubicBezTo>
                        <a:pt x="80" y="160"/>
                        <a:pt x="189" y="172"/>
                        <a:pt x="321" y="172"/>
                      </a:cubicBezTo>
                      <a:cubicBezTo>
                        <a:pt x="454" y="172"/>
                        <a:pt x="563" y="160"/>
                        <a:pt x="576" y="143"/>
                      </a:cubicBezTo>
                      <a:cubicBezTo>
                        <a:pt x="576" y="142"/>
                        <a:pt x="577" y="141"/>
                        <a:pt x="577" y="140"/>
                      </a:cubicBezTo>
                      <a:cubicBezTo>
                        <a:pt x="597" y="92"/>
                        <a:pt x="617" y="45"/>
                        <a:pt x="639" y="0"/>
                      </a:cubicBezTo>
                      <a:cubicBezTo>
                        <a:pt x="620" y="20"/>
                        <a:pt x="484" y="35"/>
                        <a:pt x="319" y="35"/>
                      </a:cubicBezTo>
                      <a:close/>
                    </a:path>
                  </a:pathLst>
                </a:custGeom>
                <a:solidFill>
                  <a:srgbClr val="CCCCCC">
                    <a:alpha val="5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/>
                <a:p>
                  <a:pPr algn="ctr">
                    <a:lnSpc>
                      <a:spcPct val="225000"/>
                    </a:lnSpc>
                  </a:pPr>
                  <a:r>
                    <a:rPr lang="en-GB" b="1"/>
                    <a:t>ASSEMBLE</a:t>
                  </a:r>
                </a:p>
              </p:txBody>
            </p:sp>
            <p:sp>
              <p:nvSpPr>
                <p:cNvPr id="55" name="Freeform 227"/>
                <p:cNvSpPr>
                  <a:spLocks/>
                </p:cNvSpPr>
                <p:nvPr/>
              </p:nvSpPr>
              <p:spPr bwMode="gray">
                <a:xfrm>
                  <a:off x="6385264" y="3918024"/>
                  <a:ext cx="1699565" cy="397942"/>
                </a:xfrm>
                <a:custGeom>
                  <a:avLst/>
                  <a:gdLst>
                    <a:gd name="T0" fmla="*/ 794 w 796"/>
                    <a:gd name="T1" fmla="*/ 0 h 188"/>
                    <a:gd name="T2" fmla="*/ 794 w 796"/>
                    <a:gd name="T3" fmla="*/ 3 h 188"/>
                    <a:gd name="T4" fmla="*/ 397 w 796"/>
                    <a:gd name="T5" fmla="*/ 49 h 188"/>
                    <a:gd name="T6" fmla="*/ 0 w 796"/>
                    <a:gd name="T7" fmla="*/ 5 h 188"/>
                    <a:gd name="T8" fmla="*/ 0 w 796"/>
                    <a:gd name="T9" fmla="*/ 5 h 188"/>
                    <a:gd name="T10" fmla="*/ 76 w 796"/>
                    <a:gd name="T11" fmla="*/ 148 h 188"/>
                    <a:gd name="T12" fmla="*/ 78 w 796"/>
                    <a:gd name="T13" fmla="*/ 153 h 188"/>
                    <a:gd name="T14" fmla="*/ 397 w 796"/>
                    <a:gd name="T15" fmla="*/ 188 h 188"/>
                    <a:gd name="T16" fmla="*/ 717 w 796"/>
                    <a:gd name="T17" fmla="*/ 153 h 188"/>
                    <a:gd name="T18" fmla="*/ 719 w 796"/>
                    <a:gd name="T19" fmla="*/ 148 h 188"/>
                    <a:gd name="T20" fmla="*/ 794 w 796"/>
                    <a:gd name="T21" fmla="*/ 5 h 188"/>
                    <a:gd name="T22" fmla="*/ 794 w 796"/>
                    <a:gd name="T23" fmla="*/ 0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96" h="188">
                      <a:moveTo>
                        <a:pt x="794" y="0"/>
                      </a:moveTo>
                      <a:cubicBezTo>
                        <a:pt x="794" y="1"/>
                        <a:pt x="794" y="2"/>
                        <a:pt x="794" y="3"/>
                      </a:cubicBezTo>
                      <a:cubicBezTo>
                        <a:pt x="794" y="28"/>
                        <a:pt x="617" y="49"/>
                        <a:pt x="397" y="49"/>
                      </a:cubicBezTo>
                      <a:cubicBezTo>
                        <a:pt x="185" y="49"/>
                        <a:pt x="12" y="30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31" y="57"/>
                        <a:pt x="76" y="148"/>
                      </a:cubicBezTo>
                      <a:cubicBezTo>
                        <a:pt x="76" y="149"/>
                        <a:pt x="77" y="151"/>
                        <a:pt x="78" y="153"/>
                      </a:cubicBezTo>
                      <a:cubicBezTo>
                        <a:pt x="97" y="173"/>
                        <a:pt x="233" y="188"/>
                        <a:pt x="397" y="188"/>
                      </a:cubicBezTo>
                      <a:cubicBezTo>
                        <a:pt x="562" y="188"/>
                        <a:pt x="698" y="173"/>
                        <a:pt x="717" y="153"/>
                      </a:cubicBezTo>
                      <a:cubicBezTo>
                        <a:pt x="718" y="151"/>
                        <a:pt x="718" y="149"/>
                        <a:pt x="719" y="148"/>
                      </a:cubicBezTo>
                      <a:cubicBezTo>
                        <a:pt x="743" y="97"/>
                        <a:pt x="768" y="49"/>
                        <a:pt x="794" y="5"/>
                      </a:cubicBezTo>
                      <a:cubicBezTo>
                        <a:pt x="796" y="3"/>
                        <a:pt x="795" y="1"/>
                        <a:pt x="794" y="0"/>
                      </a:cubicBez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/>
                <a:p>
                  <a:pPr algn="ctr">
                    <a:lnSpc>
                      <a:spcPct val="250000"/>
                    </a:lnSpc>
                  </a:pPr>
                  <a:r>
                    <a:rPr lang="en-GB">
                      <a:latin typeface="BMW Group Condensed Bold" panose="020B0806020202020204" pitchFamily="34" charset="0"/>
                    </a:rPr>
                    <a:t>DEFINE</a:t>
                  </a:r>
                </a:p>
              </p:txBody>
            </p:sp>
          </p:grpSp>
        </p:grpSp>
        <p:sp>
          <p:nvSpPr>
            <p:cNvPr id="45" name="Text Box 91"/>
            <p:cNvSpPr txBox="1">
              <a:spLocks noChangeArrowheads="1"/>
            </p:cNvSpPr>
            <p:nvPr/>
          </p:nvSpPr>
          <p:spPr bwMode="gray">
            <a:xfrm>
              <a:off x="7434988" y="446774"/>
              <a:ext cx="360521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en-GB" altLang="de-DE" sz="2800" b="1">
                  <a:latin typeface="BMW Group Condensed Bold" panose="020B0806020202020204" pitchFamily="34" charset="0"/>
                </a:rPr>
                <a:t>PROBLEM</a:t>
              </a:r>
            </a:p>
          </p:txBody>
        </p:sp>
        <p:sp>
          <p:nvSpPr>
            <p:cNvPr id="11" name="Text Box 91">
              <a:extLst>
                <a:ext uri="{FF2B5EF4-FFF2-40B4-BE49-F238E27FC236}">
                  <a16:creationId xmlns:a16="http://schemas.microsoft.com/office/drawing/2014/main" id="{958F6B20-94D6-5ADA-F223-701AAE23090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452235" y="5431763"/>
              <a:ext cx="360521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8016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en-GB" altLang="de-DE" sz="2800" b="1">
                  <a:latin typeface="BMW Group Condensed Bold" panose="020B0806020202020204" pitchFamily="34" charset="0"/>
                </a:rPr>
                <a:t>SOLUTION</a:t>
              </a:r>
            </a:p>
          </p:txBody>
        </p:sp>
      </p:grp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2DED0E8-98CF-A52E-E9B9-EFADA685F8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1234532"/>
              </p:ext>
            </p:extLst>
          </p:nvPr>
        </p:nvGraphicFramePr>
        <p:xfrm>
          <a:off x="479425" y="1361254"/>
          <a:ext cx="6103188" cy="49474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366200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35970"/>
                </a:solidFill>
              </a:rPr>
              <a:t>cause and effect diagram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C0FAF5E3-39EA-BA9B-A7BB-AAB48E8139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2435329"/>
              </p:ext>
            </p:extLst>
          </p:nvPr>
        </p:nvGraphicFramePr>
        <p:xfrm>
          <a:off x="6419848" y="1412875"/>
          <a:ext cx="5302252" cy="26263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66B191E2-8D1A-666A-5959-02609CE76B58}"/>
              </a:ext>
            </a:extLst>
          </p:cNvPr>
          <p:cNvGrpSpPr/>
          <p:nvPr/>
        </p:nvGrpSpPr>
        <p:grpSpPr>
          <a:xfrm>
            <a:off x="6203374" y="4204576"/>
            <a:ext cx="5388264" cy="1919999"/>
            <a:chOff x="6120246" y="1228209"/>
            <a:chExt cx="5601854" cy="2160145"/>
          </a:xfrm>
        </p:grpSpPr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EE43B645-E28D-1F1B-98CE-D48AB2A8C9A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28618968"/>
                </p:ext>
              </p:extLst>
            </p:nvPr>
          </p:nvGraphicFramePr>
          <p:xfrm>
            <a:off x="6429084" y="1757138"/>
            <a:ext cx="5293016" cy="1631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aphicFrame>
          <p:nvGraphicFramePr>
            <p:cNvPr id="11" name="Diagram 10">
              <a:extLst>
                <a:ext uri="{FF2B5EF4-FFF2-40B4-BE49-F238E27FC236}">
                  <a16:creationId xmlns:a16="http://schemas.microsoft.com/office/drawing/2014/main" id="{9488663C-D998-1782-5C23-E18C91E8685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24043970"/>
                </p:ext>
              </p:extLst>
            </p:nvPr>
          </p:nvGraphicFramePr>
          <p:xfrm>
            <a:off x="6120246" y="1228209"/>
            <a:ext cx="1721427" cy="36933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</p:grpSp>
      <p:pic>
        <p:nvPicPr>
          <p:cNvPr id="1026" name="Picture 2" descr="Fishbone Diagram | Purple Griffon">
            <a:extLst>
              <a:ext uri="{FF2B5EF4-FFF2-40B4-BE49-F238E27FC236}">
                <a16:creationId xmlns:a16="http://schemas.microsoft.com/office/drawing/2014/main" id="{4D772BB4-19E4-A0FD-2090-B32E073F26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30" t="15167" r="2078"/>
          <a:stretch/>
        </p:blipFill>
        <p:spPr bwMode="auto">
          <a:xfrm>
            <a:off x="560134" y="1804797"/>
            <a:ext cx="5612066" cy="3073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5260CA-7C94-F0E5-E588-4B900B14F2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4AF5C8-983F-93DB-1A0B-FA021BC655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74918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9" y="347184"/>
            <a:ext cx="6309016" cy="373252"/>
          </a:xfrm>
        </p:spPr>
        <p:txBody>
          <a:bodyPr/>
          <a:lstStyle/>
          <a:p>
            <a:r>
              <a:rPr lang="en-US">
                <a:solidFill>
                  <a:srgbClr val="035970"/>
                </a:solidFill>
              </a:rPr>
              <a:t>cause and effect diagrams(</a:t>
            </a:r>
            <a:r>
              <a:rPr lang="en-US" err="1">
                <a:solidFill>
                  <a:srgbClr val="035970"/>
                </a:solidFill>
              </a:rPr>
              <a:t>Contd</a:t>
            </a:r>
            <a:r>
              <a:rPr lang="en-US">
                <a:solidFill>
                  <a:srgbClr val="035970"/>
                </a:solidFill>
              </a:rPr>
              <a:t>….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A9AB8F-DC7D-43C2-AA72-FC116B4FD462}"/>
              </a:ext>
            </a:extLst>
          </p:cNvPr>
          <p:cNvSpPr txBox="1"/>
          <p:nvPr/>
        </p:nvSpPr>
        <p:spPr>
          <a:xfrm>
            <a:off x="477838" y="3920708"/>
            <a:ext cx="7924757" cy="193899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r>
              <a:rPr lang="en-US" altLang="en-US" sz="2000">
                <a:latin typeface="+mj-lt"/>
              </a:rPr>
              <a:t>Advantages:</a:t>
            </a:r>
          </a:p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endParaRPr lang="en-US" altLang="en-US" sz="200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It helps you locate bottlenecks in the proces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It helps you find ways to improve the proces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It involves an in-depth discussion of the problem, which educates the team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It prioritizes further analysis and helps you take corrective action.</a:t>
            </a:r>
            <a:endParaRPr lang="en-US" altLang="en-US" sz="200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3BBF58-BFE4-4A8B-B75A-79917331541B}"/>
              </a:ext>
            </a:extLst>
          </p:cNvPr>
          <p:cNvSpPr txBox="1"/>
          <p:nvPr/>
        </p:nvSpPr>
        <p:spPr>
          <a:xfrm>
            <a:off x="477838" y="1412875"/>
            <a:ext cx="5156844" cy="224676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r>
              <a:rPr lang="en-US" altLang="en-US" sz="2000">
                <a:latin typeface="+mj-lt"/>
              </a:rPr>
              <a:t>Steps to create:</a:t>
            </a:r>
          </a:p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endParaRPr lang="en-US" altLang="en-US" sz="2000">
              <a:latin typeface="+mj-lt"/>
            </a:endParaRPr>
          </a:p>
          <a:p>
            <a:pPr>
              <a:buClr>
                <a:schemeClr val="tx1"/>
              </a:buClr>
              <a:defRPr/>
            </a:pPr>
            <a:r>
              <a:rPr lang="en-US" sz="2000"/>
              <a:t>Step 1 - Identify and Define the Effect or problem.</a:t>
            </a:r>
          </a:p>
          <a:p>
            <a:pPr>
              <a:buClr>
                <a:schemeClr val="tx1"/>
              </a:buClr>
              <a:defRPr/>
            </a:pPr>
            <a:r>
              <a:rPr lang="en-US" sz="2000"/>
              <a:t>Step 2 - Fill in the Effect Box and Draw the Spine.</a:t>
            </a:r>
          </a:p>
          <a:p>
            <a:pPr>
              <a:buClr>
                <a:schemeClr val="tx1"/>
              </a:buClr>
              <a:defRPr/>
            </a:pPr>
            <a:r>
              <a:rPr lang="en-US" sz="2000"/>
              <a:t>Step 3 - Identify Main Categories &amp; sub categories.</a:t>
            </a:r>
          </a:p>
          <a:p>
            <a:pPr>
              <a:buClr>
                <a:schemeClr val="tx1"/>
              </a:buClr>
              <a:defRPr/>
            </a:pPr>
            <a:r>
              <a:rPr lang="en-US" sz="2000"/>
              <a:t>Step 4 - Identify Causes Influencing the Effect.</a:t>
            </a:r>
          </a:p>
          <a:p>
            <a:pPr>
              <a:buClr>
                <a:schemeClr val="tx1"/>
              </a:buClr>
              <a:defRPr/>
            </a:pPr>
            <a:r>
              <a:rPr lang="en-US" sz="2000"/>
              <a:t>Step 5 - Add Detailed Levels &amp; Analyze the Dia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9180" y="1211876"/>
            <a:ext cx="3383280" cy="23850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1003" y="1756907"/>
            <a:ext cx="3383280" cy="24071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2876" y="2155151"/>
            <a:ext cx="3383280" cy="23998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7276" y="2420242"/>
            <a:ext cx="3383280" cy="23853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9099" y="2742611"/>
            <a:ext cx="3383280" cy="23867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2512FD-B453-6FB9-A92C-1846BFA202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61388F-E45F-AB14-8070-7764E9DCC5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272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47A2423-7ECC-19C6-1B62-018E30B79D55}"/>
              </a:ext>
            </a:extLst>
          </p:cNvPr>
          <p:cNvSpPr/>
          <p:nvPr/>
        </p:nvSpPr>
        <p:spPr>
          <a:xfrm>
            <a:off x="1200267" y="2481826"/>
            <a:ext cx="2058362" cy="823345"/>
          </a:xfrm>
          <a:custGeom>
            <a:avLst/>
            <a:gdLst>
              <a:gd name="connsiteX0" fmla="*/ 0 w 2058362"/>
              <a:gd name="connsiteY0" fmla="*/ 0 h 823345"/>
              <a:gd name="connsiteX1" fmla="*/ 1646690 w 2058362"/>
              <a:gd name="connsiteY1" fmla="*/ 0 h 823345"/>
              <a:gd name="connsiteX2" fmla="*/ 2058362 w 2058362"/>
              <a:gd name="connsiteY2" fmla="*/ 411673 h 823345"/>
              <a:gd name="connsiteX3" fmla="*/ 1646690 w 2058362"/>
              <a:gd name="connsiteY3" fmla="*/ 823345 h 823345"/>
              <a:gd name="connsiteX4" fmla="*/ 0 w 2058362"/>
              <a:gd name="connsiteY4" fmla="*/ 823345 h 823345"/>
              <a:gd name="connsiteX5" fmla="*/ 411673 w 2058362"/>
              <a:gd name="connsiteY5" fmla="*/ 411673 h 823345"/>
              <a:gd name="connsiteX6" fmla="*/ 0 w 2058362"/>
              <a:gd name="connsiteY6" fmla="*/ 0 h 82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362" h="823345">
                <a:moveTo>
                  <a:pt x="0" y="0"/>
                </a:moveTo>
                <a:lnTo>
                  <a:pt x="1646690" y="0"/>
                </a:lnTo>
                <a:lnTo>
                  <a:pt x="2058362" y="411673"/>
                </a:lnTo>
                <a:lnTo>
                  <a:pt x="1646690" y="823345"/>
                </a:lnTo>
                <a:lnTo>
                  <a:pt x="0" y="823345"/>
                </a:lnTo>
                <a:lnTo>
                  <a:pt x="411673" y="41167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9679" tIns="16002" rIns="427674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Step 1 : Identify and Define the Effect or problem.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E1A7A62-EAEA-AB54-3BFE-9309075A7F13}"/>
              </a:ext>
            </a:extLst>
          </p:cNvPr>
          <p:cNvSpPr/>
          <p:nvPr/>
        </p:nvSpPr>
        <p:spPr>
          <a:xfrm>
            <a:off x="3052794" y="2481826"/>
            <a:ext cx="2058362" cy="823345"/>
          </a:xfrm>
          <a:custGeom>
            <a:avLst/>
            <a:gdLst>
              <a:gd name="connsiteX0" fmla="*/ 0 w 2058362"/>
              <a:gd name="connsiteY0" fmla="*/ 0 h 823345"/>
              <a:gd name="connsiteX1" fmla="*/ 1646690 w 2058362"/>
              <a:gd name="connsiteY1" fmla="*/ 0 h 823345"/>
              <a:gd name="connsiteX2" fmla="*/ 2058362 w 2058362"/>
              <a:gd name="connsiteY2" fmla="*/ 411673 h 823345"/>
              <a:gd name="connsiteX3" fmla="*/ 1646690 w 2058362"/>
              <a:gd name="connsiteY3" fmla="*/ 823345 h 823345"/>
              <a:gd name="connsiteX4" fmla="*/ 0 w 2058362"/>
              <a:gd name="connsiteY4" fmla="*/ 823345 h 823345"/>
              <a:gd name="connsiteX5" fmla="*/ 411673 w 2058362"/>
              <a:gd name="connsiteY5" fmla="*/ 411673 h 823345"/>
              <a:gd name="connsiteX6" fmla="*/ 0 w 2058362"/>
              <a:gd name="connsiteY6" fmla="*/ 0 h 82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362" h="823345">
                <a:moveTo>
                  <a:pt x="0" y="0"/>
                </a:moveTo>
                <a:lnTo>
                  <a:pt x="1646690" y="0"/>
                </a:lnTo>
                <a:lnTo>
                  <a:pt x="2058362" y="411673"/>
                </a:lnTo>
                <a:lnTo>
                  <a:pt x="1646690" y="823345"/>
                </a:lnTo>
                <a:lnTo>
                  <a:pt x="0" y="823345"/>
                </a:lnTo>
                <a:lnTo>
                  <a:pt x="411673" y="41167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9679" tIns="16002" rIns="427674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2 : Fill in the Effect Box and Draw the Spine.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E164DC8-8BE1-E4A1-58B5-5856E4C7528F}"/>
              </a:ext>
            </a:extLst>
          </p:cNvPr>
          <p:cNvSpPr/>
          <p:nvPr/>
        </p:nvSpPr>
        <p:spPr>
          <a:xfrm>
            <a:off x="4905320" y="2481826"/>
            <a:ext cx="2058362" cy="823345"/>
          </a:xfrm>
          <a:custGeom>
            <a:avLst/>
            <a:gdLst>
              <a:gd name="connsiteX0" fmla="*/ 0 w 2058362"/>
              <a:gd name="connsiteY0" fmla="*/ 0 h 823345"/>
              <a:gd name="connsiteX1" fmla="*/ 1646690 w 2058362"/>
              <a:gd name="connsiteY1" fmla="*/ 0 h 823345"/>
              <a:gd name="connsiteX2" fmla="*/ 2058362 w 2058362"/>
              <a:gd name="connsiteY2" fmla="*/ 411673 h 823345"/>
              <a:gd name="connsiteX3" fmla="*/ 1646690 w 2058362"/>
              <a:gd name="connsiteY3" fmla="*/ 823345 h 823345"/>
              <a:gd name="connsiteX4" fmla="*/ 0 w 2058362"/>
              <a:gd name="connsiteY4" fmla="*/ 823345 h 823345"/>
              <a:gd name="connsiteX5" fmla="*/ 411673 w 2058362"/>
              <a:gd name="connsiteY5" fmla="*/ 411673 h 823345"/>
              <a:gd name="connsiteX6" fmla="*/ 0 w 2058362"/>
              <a:gd name="connsiteY6" fmla="*/ 0 h 82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362" h="823345">
                <a:moveTo>
                  <a:pt x="0" y="0"/>
                </a:moveTo>
                <a:lnTo>
                  <a:pt x="1646690" y="0"/>
                </a:lnTo>
                <a:lnTo>
                  <a:pt x="2058362" y="411673"/>
                </a:lnTo>
                <a:lnTo>
                  <a:pt x="1646690" y="823345"/>
                </a:lnTo>
                <a:lnTo>
                  <a:pt x="0" y="823345"/>
                </a:lnTo>
                <a:lnTo>
                  <a:pt x="411673" y="41167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9679" tIns="16002" rIns="427674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Step 3 : Identify Main Categories &amp; sub categories.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3796A12-11CF-5F8D-5852-0D45A9A48C11}"/>
              </a:ext>
            </a:extLst>
          </p:cNvPr>
          <p:cNvSpPr/>
          <p:nvPr/>
        </p:nvSpPr>
        <p:spPr>
          <a:xfrm>
            <a:off x="6757847" y="2481826"/>
            <a:ext cx="2058362" cy="823345"/>
          </a:xfrm>
          <a:custGeom>
            <a:avLst/>
            <a:gdLst>
              <a:gd name="connsiteX0" fmla="*/ 0 w 2058362"/>
              <a:gd name="connsiteY0" fmla="*/ 0 h 823345"/>
              <a:gd name="connsiteX1" fmla="*/ 1646690 w 2058362"/>
              <a:gd name="connsiteY1" fmla="*/ 0 h 823345"/>
              <a:gd name="connsiteX2" fmla="*/ 2058362 w 2058362"/>
              <a:gd name="connsiteY2" fmla="*/ 411673 h 823345"/>
              <a:gd name="connsiteX3" fmla="*/ 1646690 w 2058362"/>
              <a:gd name="connsiteY3" fmla="*/ 823345 h 823345"/>
              <a:gd name="connsiteX4" fmla="*/ 0 w 2058362"/>
              <a:gd name="connsiteY4" fmla="*/ 823345 h 823345"/>
              <a:gd name="connsiteX5" fmla="*/ 411673 w 2058362"/>
              <a:gd name="connsiteY5" fmla="*/ 411673 h 823345"/>
              <a:gd name="connsiteX6" fmla="*/ 0 w 2058362"/>
              <a:gd name="connsiteY6" fmla="*/ 0 h 82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362" h="823345">
                <a:moveTo>
                  <a:pt x="0" y="0"/>
                </a:moveTo>
                <a:lnTo>
                  <a:pt x="1646690" y="0"/>
                </a:lnTo>
                <a:lnTo>
                  <a:pt x="2058362" y="411673"/>
                </a:lnTo>
                <a:lnTo>
                  <a:pt x="1646690" y="823345"/>
                </a:lnTo>
                <a:lnTo>
                  <a:pt x="0" y="823345"/>
                </a:lnTo>
                <a:lnTo>
                  <a:pt x="411673" y="41167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9679" tIns="16002" rIns="427674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Step 4 : Identify Causes Influencing the Effect.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9284E20-218E-BE89-F089-50894C0F3780}"/>
              </a:ext>
            </a:extLst>
          </p:cNvPr>
          <p:cNvSpPr/>
          <p:nvPr/>
        </p:nvSpPr>
        <p:spPr>
          <a:xfrm>
            <a:off x="8610373" y="2481826"/>
            <a:ext cx="2058362" cy="823345"/>
          </a:xfrm>
          <a:custGeom>
            <a:avLst/>
            <a:gdLst>
              <a:gd name="connsiteX0" fmla="*/ 0 w 2058362"/>
              <a:gd name="connsiteY0" fmla="*/ 0 h 823345"/>
              <a:gd name="connsiteX1" fmla="*/ 1646690 w 2058362"/>
              <a:gd name="connsiteY1" fmla="*/ 0 h 823345"/>
              <a:gd name="connsiteX2" fmla="*/ 2058362 w 2058362"/>
              <a:gd name="connsiteY2" fmla="*/ 411673 h 823345"/>
              <a:gd name="connsiteX3" fmla="*/ 1646690 w 2058362"/>
              <a:gd name="connsiteY3" fmla="*/ 823345 h 823345"/>
              <a:gd name="connsiteX4" fmla="*/ 0 w 2058362"/>
              <a:gd name="connsiteY4" fmla="*/ 823345 h 823345"/>
              <a:gd name="connsiteX5" fmla="*/ 411673 w 2058362"/>
              <a:gd name="connsiteY5" fmla="*/ 411673 h 823345"/>
              <a:gd name="connsiteX6" fmla="*/ 0 w 2058362"/>
              <a:gd name="connsiteY6" fmla="*/ 0 h 82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362" h="823345">
                <a:moveTo>
                  <a:pt x="0" y="0"/>
                </a:moveTo>
                <a:lnTo>
                  <a:pt x="1646690" y="0"/>
                </a:lnTo>
                <a:lnTo>
                  <a:pt x="2058362" y="411673"/>
                </a:lnTo>
                <a:lnTo>
                  <a:pt x="1646690" y="823345"/>
                </a:lnTo>
                <a:lnTo>
                  <a:pt x="0" y="823345"/>
                </a:lnTo>
                <a:lnTo>
                  <a:pt x="411673" y="41167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9679" tIns="16002" rIns="427674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5 : Add Detailed Levels &amp; Analyze the Diagram.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77894" y="370610"/>
            <a:ext cx="5524370" cy="3590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rgbClr val="035970"/>
                </a:solidFill>
              </a:rPr>
              <a:t>pareto diagrams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26DB49B-BC1F-EF0A-E108-038253A32F2D}"/>
              </a:ext>
            </a:extLst>
          </p:cNvPr>
          <p:cNvSpPr txBox="1">
            <a:spLocks/>
          </p:cNvSpPr>
          <p:nvPr/>
        </p:nvSpPr>
        <p:spPr>
          <a:xfrm>
            <a:off x="477838" y="2037774"/>
            <a:ext cx="4232707" cy="3590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z="1600" b="0" dirty="0">
                <a:solidFill>
                  <a:srgbClr val="035970"/>
                </a:solidFill>
              </a:rPr>
              <a:t>Steps to create a pareto diagram </a:t>
            </a:r>
            <a:r>
              <a:rPr lang="en-US" sz="1800" b="0" dirty="0">
                <a:solidFill>
                  <a:srgbClr val="035970"/>
                </a:solidFill>
              </a:rPr>
              <a:t>: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56C40D81-9B94-CAF5-0EF9-AC4FD5B66AF0}"/>
              </a:ext>
            </a:extLst>
          </p:cNvPr>
          <p:cNvSpPr txBox="1">
            <a:spLocks/>
          </p:cNvSpPr>
          <p:nvPr/>
        </p:nvSpPr>
        <p:spPr>
          <a:xfrm>
            <a:off x="477839" y="3497027"/>
            <a:ext cx="1195514" cy="3590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z="1600" b="0" dirty="0">
                <a:solidFill>
                  <a:srgbClr val="035970"/>
                </a:solidFill>
              </a:rPr>
              <a:t>Advantages:</a:t>
            </a:r>
            <a:endParaRPr lang="en-US" sz="1800" b="0" dirty="0">
              <a:solidFill>
                <a:srgbClr val="035970"/>
              </a:solidFill>
            </a:endParaRPr>
          </a:p>
        </p:txBody>
      </p:sp>
      <p:graphicFrame>
        <p:nvGraphicFramePr>
          <p:cNvPr id="35" name="Diagram 34">
            <a:extLst>
              <a:ext uri="{FF2B5EF4-FFF2-40B4-BE49-F238E27FC236}">
                <a16:creationId xmlns:a16="http://schemas.microsoft.com/office/drawing/2014/main" id="{21EE9098-4EEB-44D5-1607-B04538D84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8752531"/>
              </p:ext>
            </p:extLst>
          </p:nvPr>
        </p:nvGraphicFramePr>
        <p:xfrm>
          <a:off x="1505712" y="3768489"/>
          <a:ext cx="8302171" cy="24819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CE893B1-E89E-4ADD-945E-EA60771A5174}"/>
              </a:ext>
            </a:extLst>
          </p:cNvPr>
          <p:cNvSpPr txBox="1"/>
          <p:nvPr/>
        </p:nvSpPr>
        <p:spPr>
          <a:xfrm>
            <a:off x="402336" y="1482515"/>
            <a:ext cx="102138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2400" dirty="0"/>
              <a:t>A </a:t>
            </a:r>
            <a:r>
              <a:rPr lang="en-US" sz="2400" b="1" dirty="0"/>
              <a:t>Pareto Chart </a:t>
            </a:r>
            <a:r>
              <a:rPr lang="en-US" sz="2400" dirty="0"/>
              <a:t>is a visual tool used to highlight the most significant factors in a dataset.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56B0843-C617-CBE2-1208-AE5CA6550E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A2C3C24-113D-FCA0-FC3C-7908F29680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4403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9" grpId="0" animBg="1"/>
      <p:bldGraphic spid="35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892B8-44DA-4F0C-BBA8-F34F4E3C0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768" y="347184"/>
            <a:ext cx="4865973" cy="465616"/>
          </a:xfrm>
        </p:spPr>
        <p:txBody>
          <a:bodyPr/>
          <a:lstStyle/>
          <a:p>
            <a:r>
              <a:rPr lang="en-US">
                <a:solidFill>
                  <a:srgbClr val="035970"/>
                </a:solidFill>
              </a:rPr>
              <a:t>pareto diagrams(</a:t>
            </a:r>
            <a:r>
              <a:rPr lang="en-US" err="1">
                <a:solidFill>
                  <a:srgbClr val="035970"/>
                </a:solidFill>
              </a:rPr>
              <a:t>Contd</a:t>
            </a:r>
            <a:r>
              <a:rPr lang="en-US">
                <a:solidFill>
                  <a:srgbClr val="035970"/>
                </a:solidFill>
              </a:rPr>
              <a:t>….) </a:t>
            </a:r>
            <a:br>
              <a:rPr lang="en-US"/>
            </a:br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5516C19-770F-4735-ACFC-151DB331F756}"/>
              </a:ext>
            </a:extLst>
          </p:cNvPr>
          <p:cNvGraphicFramePr>
            <a:graphicFrameLocks/>
          </p:cNvGraphicFramePr>
          <p:nvPr/>
        </p:nvGraphicFramePr>
        <p:xfrm>
          <a:off x="477838" y="1858945"/>
          <a:ext cx="6270170" cy="370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85478D-2C6D-44AC-AE48-ABA1055A63CD}"/>
              </a:ext>
            </a:extLst>
          </p:cNvPr>
          <p:cNvCxnSpPr/>
          <p:nvPr/>
        </p:nvCxnSpPr>
        <p:spPr>
          <a:xfrm>
            <a:off x="2218099" y="2770360"/>
            <a:ext cx="0" cy="2245260"/>
          </a:xfrm>
          <a:prstGeom prst="line">
            <a:avLst/>
          </a:prstGeom>
          <a:ln w="12700">
            <a:solidFill>
              <a:srgbClr val="7C0A0E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C35B8CF4-D2FD-47EE-AEDE-22FEA0B71022}"/>
              </a:ext>
            </a:extLst>
          </p:cNvPr>
          <p:cNvSpPr/>
          <p:nvPr/>
        </p:nvSpPr>
        <p:spPr>
          <a:xfrm>
            <a:off x="1105991" y="2528365"/>
            <a:ext cx="1112108" cy="2417275"/>
          </a:xfrm>
          <a:prstGeom prst="rect">
            <a:avLst/>
          </a:prstGeom>
          <a:solidFill>
            <a:schemeClr val="accent6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519F0E3-BA09-4A39-A8D1-149A73E9B49E}"/>
              </a:ext>
            </a:extLst>
          </p:cNvPr>
          <p:cNvGraphicFramePr/>
          <p:nvPr/>
        </p:nvGraphicFramePr>
        <p:xfrm>
          <a:off x="7474877" y="1858945"/>
          <a:ext cx="3675017" cy="3702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236A68-8A42-6F6E-17E8-AA61532856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009026-D662-368C-7B36-CE0E812E56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64313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40F1701E-D8CE-4DAF-87FC-B4B12D83CDEA}"/>
              </a:ext>
            </a:extLst>
          </p:cNvPr>
          <p:cNvSpPr txBox="1"/>
          <p:nvPr/>
        </p:nvSpPr>
        <p:spPr>
          <a:xfrm>
            <a:off x="488948" y="3530521"/>
            <a:ext cx="5659303" cy="224676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r>
              <a:rPr lang="en-US" altLang="en-US" sz="2000" dirty="0">
                <a:latin typeface="+mj-lt"/>
              </a:rPr>
              <a:t>WHEN?</a:t>
            </a:r>
          </a:p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endParaRPr lang="en-US" altLang="en-US" sz="20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When you have paired numerical da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When trying to determine whether the two variables are relat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When determining whether two effects that appear to be related both occur because of the same cause.</a:t>
            </a:r>
            <a:endParaRPr lang="en-US" altLang="en-US" sz="2000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3BBF58-BFE4-4A8B-B75A-79917331541B}"/>
              </a:ext>
            </a:extLst>
          </p:cNvPr>
          <p:cNvSpPr txBox="1"/>
          <p:nvPr/>
        </p:nvSpPr>
        <p:spPr>
          <a:xfrm>
            <a:off x="477837" y="1412875"/>
            <a:ext cx="11483503" cy="193899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r>
              <a:rPr lang="en-US" altLang="en-US" sz="2000" dirty="0">
                <a:latin typeface="+mj-lt"/>
              </a:rPr>
              <a:t>WHAT?</a:t>
            </a:r>
          </a:p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endParaRPr lang="en-US" altLang="en-US" sz="2000" dirty="0">
              <a:latin typeface="+mj-lt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 scatter diagram is a type of data visualization that shows the relationship between different variables and the data is shown by placing various data points between an x- and y-axis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 scatter plot uses dots to represent values for two different numeric variables.</a:t>
            </a:r>
            <a:endParaRPr lang="en-US" altLang="en-US" sz="2000" dirty="0">
              <a:latin typeface="+mj-lt"/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Identification of correlational relationships are common with scatter plots.</a:t>
            </a:r>
            <a:endParaRPr lang="en-US" altLang="en-US" sz="2000" dirty="0">
              <a:latin typeface="+mj-lt"/>
            </a:endParaRPr>
          </a:p>
        </p:txBody>
      </p:sp>
      <p:pic>
        <p:nvPicPr>
          <p:cNvPr id="7" name="Picture 2" descr="Image result for scatter diagra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5" t="5242" r="1849" b="3779"/>
          <a:stretch/>
        </p:blipFill>
        <p:spPr bwMode="auto">
          <a:xfrm>
            <a:off x="7006650" y="3429049"/>
            <a:ext cx="4846320" cy="267226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80325D-8A0F-0A08-968C-38A30DD689E3}"/>
              </a:ext>
            </a:extLst>
          </p:cNvPr>
          <p:cNvSpPr txBox="1">
            <a:spLocks/>
          </p:cNvSpPr>
          <p:nvPr/>
        </p:nvSpPr>
        <p:spPr>
          <a:xfrm>
            <a:off x="477894" y="370610"/>
            <a:ext cx="5524370" cy="3590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rgbClr val="035970"/>
                </a:solidFill>
              </a:rPr>
              <a:t>scatter diagram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6DBD4C-6DB9-0615-7DFC-71CEDD1A15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93EA3D-89D1-6CD4-974D-BC50DA2BA8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50247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18E96712-DA4C-3D4F-004E-181B1D9A52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4623826"/>
              </p:ext>
            </p:extLst>
          </p:nvPr>
        </p:nvGraphicFramePr>
        <p:xfrm>
          <a:off x="477838" y="4142232"/>
          <a:ext cx="10869866" cy="1810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76C304-9115-026B-374A-7ED771CAFDFB}"/>
              </a:ext>
            </a:extLst>
          </p:cNvPr>
          <p:cNvSpPr txBox="1">
            <a:spLocks/>
          </p:cNvSpPr>
          <p:nvPr/>
        </p:nvSpPr>
        <p:spPr>
          <a:xfrm>
            <a:off x="477894" y="370610"/>
            <a:ext cx="5524370" cy="3590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rgbClr val="035970"/>
                </a:solidFill>
              </a:rPr>
              <a:t>Scatter diagram (contd..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EE5E7D-38EE-A8AE-3106-05D42DD265B5}"/>
              </a:ext>
            </a:extLst>
          </p:cNvPr>
          <p:cNvSpPr txBox="1"/>
          <p:nvPr/>
        </p:nvSpPr>
        <p:spPr>
          <a:xfrm>
            <a:off x="477838" y="1043543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r>
              <a:rPr lang="en-US" altLang="en-US" sz="1800" dirty="0">
                <a:solidFill>
                  <a:srgbClr val="035970"/>
                </a:solidFill>
              </a:rPr>
              <a:t>Steps to </a:t>
            </a:r>
            <a:r>
              <a:rPr lang="en-US" altLang="en-US" dirty="0">
                <a:solidFill>
                  <a:srgbClr val="035970"/>
                </a:solidFill>
              </a:rPr>
              <a:t>C</a:t>
            </a:r>
            <a:r>
              <a:rPr lang="en-US" altLang="en-US" sz="1800" dirty="0">
                <a:solidFill>
                  <a:srgbClr val="035970"/>
                </a:solidFill>
              </a:rPr>
              <a:t>reate a Scatter Diagram :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B7A7604A-4CF7-DEFB-B209-48DECCC8E6F1}"/>
              </a:ext>
            </a:extLst>
          </p:cNvPr>
          <p:cNvSpPr/>
          <p:nvPr/>
        </p:nvSpPr>
        <p:spPr>
          <a:xfrm>
            <a:off x="480581" y="2087680"/>
            <a:ext cx="2441371" cy="976548"/>
          </a:xfrm>
          <a:custGeom>
            <a:avLst/>
            <a:gdLst>
              <a:gd name="connsiteX0" fmla="*/ 0 w 2441371"/>
              <a:gd name="connsiteY0" fmla="*/ 0 h 976548"/>
              <a:gd name="connsiteX1" fmla="*/ 1953097 w 2441371"/>
              <a:gd name="connsiteY1" fmla="*/ 0 h 976548"/>
              <a:gd name="connsiteX2" fmla="*/ 2441371 w 2441371"/>
              <a:gd name="connsiteY2" fmla="*/ 488274 h 976548"/>
              <a:gd name="connsiteX3" fmla="*/ 1953097 w 2441371"/>
              <a:gd name="connsiteY3" fmla="*/ 976548 h 976548"/>
              <a:gd name="connsiteX4" fmla="*/ 0 w 2441371"/>
              <a:gd name="connsiteY4" fmla="*/ 976548 h 976548"/>
              <a:gd name="connsiteX5" fmla="*/ 488274 w 2441371"/>
              <a:gd name="connsiteY5" fmla="*/ 488274 h 976548"/>
              <a:gd name="connsiteX6" fmla="*/ 0 w 2441371"/>
              <a:gd name="connsiteY6" fmla="*/ 0 h 97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1371" h="976548">
                <a:moveTo>
                  <a:pt x="0" y="0"/>
                </a:moveTo>
                <a:lnTo>
                  <a:pt x="1953097" y="0"/>
                </a:lnTo>
                <a:lnTo>
                  <a:pt x="2441371" y="488274"/>
                </a:lnTo>
                <a:lnTo>
                  <a:pt x="1953097" y="976548"/>
                </a:lnTo>
                <a:lnTo>
                  <a:pt x="0" y="976548"/>
                </a:lnTo>
                <a:lnTo>
                  <a:pt x="488274" y="4882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280" tIns="16002" rIns="504276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1 - Identify the two variables which you want to investigate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0CD1701-8EE1-DDE7-36DB-F48F4FB995AF}"/>
              </a:ext>
            </a:extLst>
          </p:cNvPr>
          <p:cNvSpPr/>
          <p:nvPr/>
        </p:nvSpPr>
        <p:spPr>
          <a:xfrm>
            <a:off x="2677815" y="2087680"/>
            <a:ext cx="2441371" cy="976548"/>
          </a:xfrm>
          <a:custGeom>
            <a:avLst/>
            <a:gdLst>
              <a:gd name="connsiteX0" fmla="*/ 0 w 2441371"/>
              <a:gd name="connsiteY0" fmla="*/ 0 h 976548"/>
              <a:gd name="connsiteX1" fmla="*/ 1953097 w 2441371"/>
              <a:gd name="connsiteY1" fmla="*/ 0 h 976548"/>
              <a:gd name="connsiteX2" fmla="*/ 2441371 w 2441371"/>
              <a:gd name="connsiteY2" fmla="*/ 488274 h 976548"/>
              <a:gd name="connsiteX3" fmla="*/ 1953097 w 2441371"/>
              <a:gd name="connsiteY3" fmla="*/ 976548 h 976548"/>
              <a:gd name="connsiteX4" fmla="*/ 0 w 2441371"/>
              <a:gd name="connsiteY4" fmla="*/ 976548 h 976548"/>
              <a:gd name="connsiteX5" fmla="*/ 488274 w 2441371"/>
              <a:gd name="connsiteY5" fmla="*/ 488274 h 976548"/>
              <a:gd name="connsiteX6" fmla="*/ 0 w 2441371"/>
              <a:gd name="connsiteY6" fmla="*/ 0 h 97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1371" h="976548">
                <a:moveTo>
                  <a:pt x="0" y="0"/>
                </a:moveTo>
                <a:lnTo>
                  <a:pt x="1953097" y="0"/>
                </a:lnTo>
                <a:lnTo>
                  <a:pt x="2441371" y="488274"/>
                </a:lnTo>
                <a:lnTo>
                  <a:pt x="1953097" y="976548"/>
                </a:lnTo>
                <a:lnTo>
                  <a:pt x="0" y="976548"/>
                </a:lnTo>
                <a:lnTo>
                  <a:pt x="488274" y="4882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280" tIns="16002" rIns="504276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2 - Collect the data and ensure that all other potential variables remain constant.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076A52D-C277-A6D2-5928-485AC2E9952E}"/>
              </a:ext>
            </a:extLst>
          </p:cNvPr>
          <p:cNvSpPr/>
          <p:nvPr/>
        </p:nvSpPr>
        <p:spPr>
          <a:xfrm>
            <a:off x="4875049" y="2087680"/>
            <a:ext cx="2441371" cy="976548"/>
          </a:xfrm>
          <a:custGeom>
            <a:avLst/>
            <a:gdLst>
              <a:gd name="connsiteX0" fmla="*/ 0 w 2441371"/>
              <a:gd name="connsiteY0" fmla="*/ 0 h 976548"/>
              <a:gd name="connsiteX1" fmla="*/ 1953097 w 2441371"/>
              <a:gd name="connsiteY1" fmla="*/ 0 h 976548"/>
              <a:gd name="connsiteX2" fmla="*/ 2441371 w 2441371"/>
              <a:gd name="connsiteY2" fmla="*/ 488274 h 976548"/>
              <a:gd name="connsiteX3" fmla="*/ 1953097 w 2441371"/>
              <a:gd name="connsiteY3" fmla="*/ 976548 h 976548"/>
              <a:gd name="connsiteX4" fmla="*/ 0 w 2441371"/>
              <a:gd name="connsiteY4" fmla="*/ 976548 h 976548"/>
              <a:gd name="connsiteX5" fmla="*/ 488274 w 2441371"/>
              <a:gd name="connsiteY5" fmla="*/ 488274 h 976548"/>
              <a:gd name="connsiteX6" fmla="*/ 0 w 2441371"/>
              <a:gd name="connsiteY6" fmla="*/ 0 h 97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1371" h="976548">
                <a:moveTo>
                  <a:pt x="0" y="0"/>
                </a:moveTo>
                <a:lnTo>
                  <a:pt x="1953097" y="0"/>
                </a:lnTo>
                <a:lnTo>
                  <a:pt x="2441371" y="488274"/>
                </a:lnTo>
                <a:lnTo>
                  <a:pt x="1953097" y="976548"/>
                </a:lnTo>
                <a:lnTo>
                  <a:pt x="0" y="976548"/>
                </a:lnTo>
                <a:lnTo>
                  <a:pt x="488274" y="4882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280" tIns="16002" rIns="504276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3 - Start to record data for both set of variables. 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29E34B5-BA58-7AC1-EF46-56BB59E63B37}"/>
              </a:ext>
            </a:extLst>
          </p:cNvPr>
          <p:cNvSpPr/>
          <p:nvPr/>
        </p:nvSpPr>
        <p:spPr>
          <a:xfrm>
            <a:off x="7072284" y="2087680"/>
            <a:ext cx="2441371" cy="976548"/>
          </a:xfrm>
          <a:custGeom>
            <a:avLst/>
            <a:gdLst>
              <a:gd name="connsiteX0" fmla="*/ 0 w 2441371"/>
              <a:gd name="connsiteY0" fmla="*/ 0 h 976548"/>
              <a:gd name="connsiteX1" fmla="*/ 1953097 w 2441371"/>
              <a:gd name="connsiteY1" fmla="*/ 0 h 976548"/>
              <a:gd name="connsiteX2" fmla="*/ 2441371 w 2441371"/>
              <a:gd name="connsiteY2" fmla="*/ 488274 h 976548"/>
              <a:gd name="connsiteX3" fmla="*/ 1953097 w 2441371"/>
              <a:gd name="connsiteY3" fmla="*/ 976548 h 976548"/>
              <a:gd name="connsiteX4" fmla="*/ 0 w 2441371"/>
              <a:gd name="connsiteY4" fmla="*/ 976548 h 976548"/>
              <a:gd name="connsiteX5" fmla="*/ 488274 w 2441371"/>
              <a:gd name="connsiteY5" fmla="*/ 488274 h 976548"/>
              <a:gd name="connsiteX6" fmla="*/ 0 w 2441371"/>
              <a:gd name="connsiteY6" fmla="*/ 0 h 97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1371" h="976548">
                <a:moveTo>
                  <a:pt x="0" y="0"/>
                </a:moveTo>
                <a:lnTo>
                  <a:pt x="1953097" y="0"/>
                </a:lnTo>
                <a:lnTo>
                  <a:pt x="2441371" y="488274"/>
                </a:lnTo>
                <a:lnTo>
                  <a:pt x="1953097" y="976548"/>
                </a:lnTo>
                <a:lnTo>
                  <a:pt x="0" y="976548"/>
                </a:lnTo>
                <a:lnTo>
                  <a:pt x="488274" y="4882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280" tIns="16002" rIns="504276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4 - If the variables normally operate over a range, try to collect data over as much of the range as possible.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A14CE6A-895C-61A0-AD4D-41ED1F12C8A2}"/>
              </a:ext>
            </a:extLst>
          </p:cNvPr>
          <p:cNvSpPr/>
          <p:nvPr/>
        </p:nvSpPr>
        <p:spPr>
          <a:xfrm>
            <a:off x="9269518" y="2087680"/>
            <a:ext cx="2441371" cy="976548"/>
          </a:xfrm>
          <a:custGeom>
            <a:avLst/>
            <a:gdLst>
              <a:gd name="connsiteX0" fmla="*/ 0 w 2441371"/>
              <a:gd name="connsiteY0" fmla="*/ 0 h 976548"/>
              <a:gd name="connsiteX1" fmla="*/ 1953097 w 2441371"/>
              <a:gd name="connsiteY1" fmla="*/ 0 h 976548"/>
              <a:gd name="connsiteX2" fmla="*/ 2441371 w 2441371"/>
              <a:gd name="connsiteY2" fmla="*/ 488274 h 976548"/>
              <a:gd name="connsiteX3" fmla="*/ 1953097 w 2441371"/>
              <a:gd name="connsiteY3" fmla="*/ 976548 h 976548"/>
              <a:gd name="connsiteX4" fmla="*/ 0 w 2441371"/>
              <a:gd name="connsiteY4" fmla="*/ 976548 h 976548"/>
              <a:gd name="connsiteX5" fmla="*/ 488274 w 2441371"/>
              <a:gd name="connsiteY5" fmla="*/ 488274 h 976548"/>
              <a:gd name="connsiteX6" fmla="*/ 0 w 2441371"/>
              <a:gd name="connsiteY6" fmla="*/ 0 h 976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1371" h="976548">
                <a:moveTo>
                  <a:pt x="0" y="0"/>
                </a:moveTo>
                <a:lnTo>
                  <a:pt x="1953097" y="0"/>
                </a:lnTo>
                <a:lnTo>
                  <a:pt x="2441371" y="488274"/>
                </a:lnTo>
                <a:lnTo>
                  <a:pt x="1953097" y="976548"/>
                </a:lnTo>
                <a:lnTo>
                  <a:pt x="0" y="976548"/>
                </a:lnTo>
                <a:lnTo>
                  <a:pt x="488274" y="4882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6280" tIns="16002" rIns="504276" bIns="16002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Step 5 -As you collect data, start to plot on a graph and review it to check the relationship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423B186-CCA1-C6E1-363F-C09BE9070358}"/>
              </a:ext>
            </a:extLst>
          </p:cNvPr>
          <p:cNvSpPr txBox="1"/>
          <p:nvPr/>
        </p:nvSpPr>
        <p:spPr>
          <a:xfrm>
            <a:off x="477838" y="3445502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buFont typeface="Monotype Sorts" pitchFamily="2" charset="2"/>
              <a:buNone/>
              <a:defRPr/>
            </a:pPr>
            <a:r>
              <a:rPr lang="en-US" altLang="en-US" sz="1800" dirty="0">
                <a:solidFill>
                  <a:srgbClr val="035970"/>
                </a:solidFill>
                <a:latin typeface="+mj-lt"/>
              </a:rPr>
              <a:t>Advantages: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1BB7B9CB-6BB9-955F-9E21-1F6A0FA1CD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A9623D8-A261-A789-7A27-746CF239EA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7774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88947" y="1413933"/>
            <a:ext cx="5506411" cy="489479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problem is a gap or deviation between the current state and the desired state or expected state.</a:t>
            </a:r>
          </a:p>
          <a:p>
            <a:pPr marL="381600" lvl="2" indent="0">
              <a:buNone/>
            </a:pPr>
            <a:endParaRPr lang="en-US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b="1" dirty="0"/>
              <a:t>Defining a Problem </a:t>
            </a:r>
            <a:r>
              <a:rPr lang="en-US" dirty="0"/>
              <a:t>involves clearly identifying a</a:t>
            </a:r>
          </a:p>
          <a:p>
            <a:pPr marL="1163250" lvl="4" indent="-400050">
              <a:buFont typeface="+mj-lt"/>
              <a:buAutoNum type="arabicPeriod"/>
            </a:pPr>
            <a:r>
              <a:rPr lang="en-US" sz="1600" dirty="0"/>
              <a:t>Scope </a:t>
            </a:r>
          </a:p>
          <a:p>
            <a:pPr marL="1163250" lvl="4" indent="-400050">
              <a:buFont typeface="+mj-lt"/>
              <a:buAutoNum type="arabicPeriod"/>
            </a:pPr>
            <a:r>
              <a:rPr lang="en-US" sz="1600" dirty="0"/>
              <a:t>Root Causes </a:t>
            </a:r>
          </a:p>
          <a:p>
            <a:pPr marL="1163250" lvl="4" indent="-400050">
              <a:buFont typeface="+mj-lt"/>
              <a:buAutoNum type="arabicPeriod"/>
            </a:pPr>
            <a:r>
              <a:rPr lang="en-US" sz="1600" dirty="0"/>
              <a:t>Factors affecting &amp; affected due to the issue</a:t>
            </a:r>
          </a:p>
          <a:p>
            <a:pPr marL="1163250" lvl="4" indent="-400050">
              <a:buFont typeface="+mj-lt"/>
              <a:buAutoNum type="arabicPeriod"/>
            </a:pPr>
            <a:r>
              <a:rPr lang="en-US" sz="1600" dirty="0"/>
              <a:t>Impact of the issue</a:t>
            </a:r>
          </a:p>
          <a:p>
            <a:pPr lvl="4">
              <a:buFont typeface="Arial" panose="020B0604020202020204" pitchFamily="34" charset="0"/>
              <a:buChar char="•"/>
            </a:pPr>
            <a:endParaRPr lang="en-US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b="1" dirty="0"/>
              <a:t>Identifying a Problem </a:t>
            </a:r>
            <a:r>
              <a:rPr lang="en-US" dirty="0"/>
              <a:t>is to </a:t>
            </a:r>
          </a:p>
          <a:p>
            <a:pPr lvl="4">
              <a:buFont typeface="Wingdings" panose="05000000000000000000" pitchFamily="2" charset="2"/>
              <a:buChar char="ü"/>
            </a:pPr>
            <a:r>
              <a:rPr lang="en-US" dirty="0"/>
              <a:t>Closely observe the processes </a:t>
            </a:r>
          </a:p>
          <a:p>
            <a:pPr lvl="4">
              <a:buFont typeface="Wingdings" panose="05000000000000000000" pitchFamily="2" charset="2"/>
              <a:buChar char="ü"/>
            </a:pPr>
            <a:r>
              <a:rPr lang="en-US" dirty="0"/>
              <a:t>Collect relevant data </a:t>
            </a:r>
          </a:p>
          <a:p>
            <a:pPr lvl="4">
              <a:buFont typeface="Wingdings" panose="05000000000000000000" pitchFamily="2" charset="2"/>
              <a:buChar char="ü"/>
            </a:pPr>
            <a:r>
              <a:rPr lang="en-US" dirty="0"/>
              <a:t>Analyze the data to detect any deviations from the expected norms or standards.</a:t>
            </a:r>
          </a:p>
          <a:p>
            <a:pPr marL="381600" lvl="2" indent="0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What is a “Problem”?</a:t>
            </a:r>
          </a:p>
        </p:txBody>
      </p:sp>
      <p:pic>
        <p:nvPicPr>
          <p:cNvPr id="11" name="Picture Placeholder 10" descr="A screenshot of a device&#10;&#10;AI-generated content may be incorrect.">
            <a:extLst>
              <a:ext uri="{FF2B5EF4-FFF2-40B4-BE49-F238E27FC236}">
                <a16:creationId xmlns:a16="http://schemas.microsoft.com/office/drawing/2014/main" id="{1B157FAA-A9A7-D21E-AF3E-7E1B60F7B66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5" b="5532"/>
          <a:stretch/>
        </p:blipFill>
        <p:spPr>
          <a:xfrm>
            <a:off x="6305553" y="1413933"/>
            <a:ext cx="5886447" cy="4963004"/>
          </a:xfrm>
        </p:spPr>
      </p:pic>
    </p:spTree>
    <p:extLst>
      <p:ext uri="{BB962C8B-B14F-4D97-AF65-F5344CB8AC3E}">
        <p14:creationId xmlns:p14="http://schemas.microsoft.com/office/powerpoint/2010/main" val="12761039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EB07441-FA68-2A84-A72D-DE5252D2F51A}"/>
              </a:ext>
            </a:extLst>
          </p:cNvPr>
          <p:cNvGrpSpPr/>
          <p:nvPr/>
        </p:nvGrpSpPr>
        <p:grpSpPr>
          <a:xfrm>
            <a:off x="960120" y="1005840"/>
            <a:ext cx="10707746" cy="5160125"/>
            <a:chOff x="445229" y="141791"/>
            <a:chExt cx="11222635" cy="6024172"/>
          </a:xfrm>
        </p:grpSpPr>
        <p:grpSp>
          <p:nvGrpSpPr>
            <p:cNvPr id="14" name="Group 13"/>
            <p:cNvGrpSpPr/>
            <p:nvPr/>
          </p:nvGrpSpPr>
          <p:grpSpPr>
            <a:xfrm>
              <a:off x="445229" y="141791"/>
              <a:ext cx="1672295" cy="3008827"/>
              <a:chOff x="217714" y="383177"/>
              <a:chExt cx="1672295" cy="3008828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217714" y="1049677"/>
                <a:ext cx="1672295" cy="2342328"/>
                <a:chOff x="2186501" y="1733005"/>
                <a:chExt cx="1352158" cy="2151006"/>
              </a:xfrm>
            </p:grpSpPr>
            <p:pic>
              <p:nvPicPr>
                <p:cNvPr id="7" name="Picture 6"/>
                <p:cNvPicPr>
                  <a:picLocks/>
                </p:cNvPicPr>
                <p:nvPr/>
              </p:nvPicPr>
              <p:blipFill rotWithShape="1">
                <a:blip r:embed="rId2"/>
                <a:srcRect t="517" b="-1"/>
                <a:stretch/>
              </p:blipFill>
              <p:spPr>
                <a:xfrm>
                  <a:off x="2186501" y="1733006"/>
                  <a:ext cx="676656" cy="2151005"/>
                </a:xfrm>
                <a:prstGeom prst="rect">
                  <a:avLst/>
                </a:prstGeom>
                <a:ln w="19050">
                  <a:solidFill>
                    <a:srgbClr val="000000"/>
                  </a:solidFill>
                </a:ln>
              </p:spPr>
            </p:pic>
            <p:pic>
              <p:nvPicPr>
                <p:cNvPr id="8" name="Picture 7"/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79918" t="2920" r="1948" b="922"/>
                <a:stretch/>
              </p:blipFill>
              <p:spPr>
                <a:xfrm>
                  <a:off x="2863157" y="1733005"/>
                  <a:ext cx="675502" cy="2151005"/>
                </a:xfrm>
                <a:prstGeom prst="rect">
                  <a:avLst/>
                </a:prstGeom>
                <a:ln w="19050">
                  <a:solidFill>
                    <a:srgbClr val="000000"/>
                  </a:solidFill>
                </a:ln>
              </p:spPr>
            </p:pic>
          </p:grpSp>
          <p:sp>
            <p:nvSpPr>
              <p:cNvPr id="13" name="TextBox 12"/>
              <p:cNvSpPr txBox="1"/>
              <p:nvPr/>
            </p:nvSpPr>
            <p:spPr>
              <a:xfrm>
                <a:off x="217714" y="383177"/>
                <a:ext cx="1672295" cy="682694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b="0" i="0" u="none" baseline="0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Step1-Tabulate</a:t>
                </a:r>
                <a:r>
                  <a:rPr lang="en-US" sz="1600" b="0" i="0" u="none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 the given data</a:t>
                </a:r>
                <a:endParaRPr lang="en-US" sz="1600" b="0" i="0" u="none" baseline="0" dirty="0">
                  <a:solidFill>
                    <a:srgbClr val="000000"/>
                  </a:solidFill>
                  <a:latin typeface="BMW Group Condensed" panose="020B0606020202020204" pitchFamily="34" charset="0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2446302" y="1313510"/>
              <a:ext cx="2905125" cy="3028700"/>
              <a:chOff x="2326781" y="383176"/>
              <a:chExt cx="2905125" cy="302870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326781" y="1049677"/>
                <a:ext cx="2905125" cy="2362200"/>
              </a:xfrm>
              <a:prstGeom prst="rect">
                <a:avLst/>
              </a:prstGeom>
              <a:ln w="19050">
                <a:solidFill>
                  <a:srgbClr val="000000"/>
                </a:solidFill>
              </a:ln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2326781" y="383176"/>
                <a:ext cx="2905125" cy="718626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b="0" i="0" u="none" baseline="0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Step</a:t>
                </a:r>
                <a:r>
                  <a:rPr lang="en-US" sz="1600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2-Draw the axes with given data and a specified </a:t>
                </a:r>
                <a:r>
                  <a:rPr lang="en-US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scale</a:t>
                </a:r>
                <a:endParaRPr lang="en-US" sz="1800" b="0" i="0" u="none" baseline="0" dirty="0">
                  <a:solidFill>
                    <a:srgbClr val="000000"/>
                  </a:solidFill>
                  <a:latin typeface="BMW Group Condensed" panose="020B0606020202020204" pitchFamily="34" charset="0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680750" y="2458530"/>
              <a:ext cx="2781300" cy="2652619"/>
              <a:chOff x="5846173" y="802120"/>
              <a:chExt cx="2781300" cy="2652620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846173" y="1178265"/>
                <a:ext cx="2781300" cy="2276475"/>
              </a:xfrm>
              <a:prstGeom prst="rect">
                <a:avLst/>
              </a:prstGeom>
              <a:ln w="19050">
                <a:solidFill>
                  <a:schemeClr val="tx1"/>
                </a:solidFill>
              </a:ln>
            </p:spPr>
          </p:pic>
          <p:sp>
            <p:nvSpPr>
              <p:cNvPr id="17" name="TextBox 16"/>
              <p:cNvSpPr txBox="1"/>
              <p:nvPr/>
            </p:nvSpPr>
            <p:spPr>
              <a:xfrm>
                <a:off x="5846717" y="802120"/>
                <a:ext cx="2780756" cy="395244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b="0" i="0" u="none" baseline="0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Step3-Start plotting the</a:t>
                </a:r>
                <a:r>
                  <a:rPr lang="en-US" sz="1600" b="0" i="0" u="none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 graph </a:t>
                </a:r>
                <a:endParaRPr lang="en-US" sz="1600" b="0" i="0" u="none" baseline="0" dirty="0">
                  <a:solidFill>
                    <a:srgbClr val="000000"/>
                  </a:solidFill>
                  <a:latin typeface="BMW Group Condensed" panose="020B0606020202020204" pitchFamily="34" charset="0"/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8791374" y="3150619"/>
              <a:ext cx="2876490" cy="3015344"/>
              <a:chOff x="8884738" y="525121"/>
              <a:chExt cx="2876490" cy="3015344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932333" y="1178265"/>
                <a:ext cx="2781300" cy="2362200"/>
              </a:xfrm>
              <a:prstGeom prst="rect">
                <a:avLst/>
              </a:prstGeom>
              <a:ln w="19050">
                <a:solidFill>
                  <a:schemeClr val="tx1"/>
                </a:solidFill>
              </a:ln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8884738" y="525121"/>
                <a:ext cx="2876490" cy="682694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b="0" i="0" u="none" baseline="0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Step4-Draw</a:t>
                </a:r>
                <a:r>
                  <a:rPr lang="en-US" sz="1600" b="0" i="0" u="none" dirty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 the remaining data and analyze their relationship</a:t>
                </a:r>
                <a:endParaRPr lang="en-US" sz="1600" b="0" i="0" u="none" baseline="0" dirty="0">
                  <a:solidFill>
                    <a:srgbClr val="000000"/>
                  </a:solidFill>
                  <a:latin typeface="BMW Group Condensed" panose="020B0606020202020204" pitchFamily="34" charset="0"/>
                </a:endParaRPr>
              </a:p>
            </p:txBody>
          </p:sp>
        </p:grp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26476DB4-ADD3-1F15-16AB-E4F016743D78}"/>
              </a:ext>
            </a:extLst>
          </p:cNvPr>
          <p:cNvSpPr txBox="1">
            <a:spLocks/>
          </p:cNvSpPr>
          <p:nvPr/>
        </p:nvSpPr>
        <p:spPr>
          <a:xfrm>
            <a:off x="477894" y="370610"/>
            <a:ext cx="5524370" cy="3590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rgbClr val="035970"/>
                </a:solidFill>
              </a:rPr>
              <a:t>Scatter diagram (contd..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5F0FB4-39E2-687A-D320-D84C73B070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D9B978-C8DF-E290-6E40-571659834B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26569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19CACCE-3741-3674-44D3-78E782D5FB1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95" t="18261" r="5672" b="7542"/>
          <a:stretch/>
        </p:blipFill>
        <p:spPr>
          <a:xfrm>
            <a:off x="479425" y="1412875"/>
            <a:ext cx="5414963" cy="4895850"/>
          </a:xfrm>
          <a:prstGeom prst="rect">
            <a:avLst/>
          </a:prstGeom>
        </p:spPr>
      </p:pic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8769294-FD85-8257-9D24-950A8914AC6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614098187"/>
              </p:ext>
            </p:extLst>
          </p:nvPr>
        </p:nvGraphicFramePr>
        <p:xfrm>
          <a:off x="6300788" y="1412875"/>
          <a:ext cx="5411787" cy="4895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93C7614-5C6F-B8D5-1EC4-E4CA2652B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BMW Group Condensed Bold" panose="020B0806020202020204" pitchFamily="34" charset="0"/>
              </a:rPr>
              <a:t>Six-sigma</a:t>
            </a:r>
            <a:r>
              <a:rPr lang="en-US" dirty="0">
                <a:latin typeface="BMW Group Condensed Bold" panose="020B0806020202020204" pitchFamily="34" charset="0"/>
              </a:rPr>
              <a:t> (</a:t>
            </a:r>
            <a:r>
              <a:rPr lang="en-US" dirty="0" err="1">
                <a:latin typeface="BMW Group Condensed Bold" panose="020B0806020202020204" pitchFamily="34" charset="0"/>
              </a:rPr>
              <a:t>dmadv</a:t>
            </a:r>
            <a:r>
              <a:rPr lang="en-US" dirty="0">
                <a:latin typeface="BMW Group Condensed Bold" panose="020B0806020202020204" pitchFamily="34" charset="0"/>
              </a:rPr>
              <a:t>) METHODOLOGY</a:t>
            </a:r>
          </a:p>
        </p:txBody>
      </p:sp>
    </p:spTree>
    <p:extLst>
      <p:ext uri="{BB962C8B-B14F-4D97-AF65-F5344CB8AC3E}">
        <p14:creationId xmlns:p14="http://schemas.microsoft.com/office/powerpoint/2010/main" val="20369356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15" descr="A blue and white logo&#10;&#10;AI-generated content may be incorrect.">
            <a:extLst>
              <a:ext uri="{FF2B5EF4-FFF2-40B4-BE49-F238E27FC236}">
                <a16:creationId xmlns:a16="http://schemas.microsoft.com/office/drawing/2014/main" id="{4FE5E07C-A422-31A5-CB3D-F8367070696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79" t="9196" r="4115" b="16250"/>
          <a:stretch/>
        </p:blipFill>
        <p:spPr>
          <a:xfrm>
            <a:off x="4725158" y="699643"/>
            <a:ext cx="2514223" cy="2416664"/>
          </a:xfr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F179E6-1130-ED12-6321-5EC8FD1662CC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811963324"/>
              </p:ext>
            </p:extLst>
          </p:nvPr>
        </p:nvGraphicFramePr>
        <p:xfrm>
          <a:off x="493427" y="4067175"/>
          <a:ext cx="3597561" cy="2317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234FED9F-3544-D38A-9555-1C0BECE86F61}"/>
              </a:ext>
            </a:extLst>
          </p:cNvPr>
          <p:cNvGraphicFramePr>
            <a:graphicFrameLocks noGrp="1"/>
          </p:cNvGraphicFramePr>
          <p:nvPr>
            <p:ph sz="quarter" idx="19"/>
            <p:extLst>
              <p:ext uri="{D42A27DB-BD31-4B8C-83A1-F6EECF244321}">
                <p14:modId xmlns:p14="http://schemas.microsoft.com/office/powerpoint/2010/main" val="1750397096"/>
              </p:ext>
            </p:extLst>
          </p:nvPr>
        </p:nvGraphicFramePr>
        <p:xfrm>
          <a:off x="4305014" y="4028423"/>
          <a:ext cx="3597561" cy="2432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F865400-C36C-2884-48CF-D355514E2C13}"/>
              </a:ext>
            </a:extLst>
          </p:cNvPr>
          <p:cNvGraphicFramePr>
            <a:graphicFrameLocks noGrp="1"/>
          </p:cNvGraphicFramePr>
          <p:nvPr>
            <p:ph sz="quarter" idx="20"/>
            <p:extLst>
              <p:ext uri="{D42A27DB-BD31-4B8C-83A1-F6EECF244321}">
                <p14:modId xmlns:p14="http://schemas.microsoft.com/office/powerpoint/2010/main" val="3665841913"/>
              </p:ext>
            </p:extLst>
          </p:nvPr>
        </p:nvGraphicFramePr>
        <p:xfrm>
          <a:off x="8115014" y="4056998"/>
          <a:ext cx="3597561" cy="2432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21" name="Gruppieren 61"/>
          <p:cNvGrpSpPr/>
          <p:nvPr/>
        </p:nvGrpSpPr>
        <p:grpSpPr bwMode="gray">
          <a:xfrm>
            <a:off x="967139" y="1550035"/>
            <a:ext cx="2650837" cy="1597229"/>
            <a:chOff x="9821863" y="4852988"/>
            <a:chExt cx="3032125" cy="2001838"/>
          </a:xfrm>
          <a:solidFill>
            <a:schemeClr val="accent1">
              <a:lumMod val="60000"/>
              <a:lumOff val="40000"/>
            </a:schemeClr>
          </a:solidFill>
          <a:effectLst/>
          <a:scene3d>
            <a:camera prst="perspectiveRelaxed" fov="4200000">
              <a:rot lat="19079987" lon="0" rev="0"/>
            </a:camera>
            <a:lightRig rig="threePt" dir="t">
              <a:rot lat="0" lon="0" rev="12000000"/>
            </a:lightRig>
          </a:scene3d>
        </p:grpSpPr>
        <p:sp>
          <p:nvSpPr>
            <p:cNvPr id="41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9821863" y="5303838"/>
              <a:ext cx="2000250" cy="1549400"/>
            </a:xfrm>
            <a:custGeom>
              <a:avLst/>
              <a:gdLst/>
              <a:ahLst/>
              <a:cxnLst>
                <a:cxn ang="0">
                  <a:pos x="1323" y="436"/>
                </a:cxn>
                <a:cxn ang="0">
                  <a:pos x="1256" y="452"/>
                </a:cxn>
                <a:cxn ang="0">
                  <a:pos x="1188" y="469"/>
                </a:cxn>
                <a:cxn ang="0">
                  <a:pos x="1113" y="395"/>
                </a:cxn>
                <a:cxn ang="0">
                  <a:pos x="1089" y="210"/>
                </a:cxn>
                <a:cxn ang="0">
                  <a:pos x="1113" y="24"/>
                </a:cxn>
                <a:cxn ang="0">
                  <a:pos x="1113" y="24"/>
                </a:cxn>
                <a:cxn ang="0">
                  <a:pos x="1113" y="24"/>
                </a:cxn>
                <a:cxn ang="0">
                  <a:pos x="929" y="0"/>
                </a:cxn>
                <a:cxn ang="0">
                  <a:pos x="743" y="24"/>
                </a:cxn>
                <a:cxn ang="0">
                  <a:pos x="669" y="99"/>
                </a:cxn>
                <a:cxn ang="0">
                  <a:pos x="686" y="167"/>
                </a:cxn>
                <a:cxn ang="0">
                  <a:pos x="703" y="234"/>
                </a:cxn>
                <a:cxn ang="0">
                  <a:pos x="557" y="379"/>
                </a:cxn>
                <a:cxn ang="0">
                  <a:pos x="412" y="234"/>
                </a:cxn>
                <a:cxn ang="0">
                  <a:pos x="429" y="167"/>
                </a:cxn>
                <a:cxn ang="0">
                  <a:pos x="446" y="99"/>
                </a:cxn>
                <a:cxn ang="0">
                  <a:pos x="372" y="24"/>
                </a:cxn>
                <a:cxn ang="0">
                  <a:pos x="186" y="0"/>
                </a:cxn>
                <a:cxn ang="0">
                  <a:pos x="0" y="24"/>
                </a:cxn>
                <a:cxn ang="0">
                  <a:pos x="0" y="1137"/>
                </a:cxn>
                <a:cxn ang="0">
                  <a:pos x="1113" y="1137"/>
                </a:cxn>
                <a:cxn ang="0">
                  <a:pos x="1089" y="953"/>
                </a:cxn>
                <a:cxn ang="0">
                  <a:pos x="1113" y="767"/>
                </a:cxn>
                <a:cxn ang="0">
                  <a:pos x="1188" y="693"/>
                </a:cxn>
                <a:cxn ang="0">
                  <a:pos x="1256" y="710"/>
                </a:cxn>
                <a:cxn ang="0">
                  <a:pos x="1323" y="726"/>
                </a:cxn>
                <a:cxn ang="0">
                  <a:pos x="1468" y="581"/>
                </a:cxn>
                <a:cxn ang="0">
                  <a:pos x="1323" y="436"/>
                </a:cxn>
              </a:cxnLst>
              <a:rect l="0" t="0" r="r" b="b"/>
              <a:pathLst>
                <a:path w="1468" h="1137">
                  <a:moveTo>
                    <a:pt x="1323" y="436"/>
                  </a:moveTo>
                  <a:cubicBezTo>
                    <a:pt x="1299" y="436"/>
                    <a:pt x="1276" y="442"/>
                    <a:pt x="1256" y="452"/>
                  </a:cubicBezTo>
                  <a:cubicBezTo>
                    <a:pt x="1245" y="459"/>
                    <a:pt x="1215" y="474"/>
                    <a:pt x="1188" y="469"/>
                  </a:cubicBezTo>
                  <a:cubicBezTo>
                    <a:pt x="1173" y="466"/>
                    <a:pt x="1128" y="446"/>
                    <a:pt x="1113" y="395"/>
                  </a:cubicBezTo>
                  <a:cubicBezTo>
                    <a:pt x="1113" y="395"/>
                    <a:pt x="1089" y="312"/>
                    <a:pt x="1089" y="210"/>
                  </a:cubicBezTo>
                  <a:cubicBezTo>
                    <a:pt x="1089" y="107"/>
                    <a:pt x="1113" y="24"/>
                    <a:pt x="1113" y="24"/>
                  </a:cubicBezTo>
                  <a:cubicBezTo>
                    <a:pt x="1113" y="24"/>
                    <a:pt x="1113" y="24"/>
                    <a:pt x="1113" y="24"/>
                  </a:cubicBezTo>
                  <a:cubicBezTo>
                    <a:pt x="1113" y="24"/>
                    <a:pt x="1113" y="24"/>
                    <a:pt x="1113" y="24"/>
                  </a:cubicBezTo>
                  <a:cubicBezTo>
                    <a:pt x="1103" y="21"/>
                    <a:pt x="1024" y="0"/>
                    <a:pt x="929" y="0"/>
                  </a:cubicBezTo>
                  <a:cubicBezTo>
                    <a:pt x="826" y="0"/>
                    <a:pt x="743" y="24"/>
                    <a:pt x="743" y="24"/>
                  </a:cubicBezTo>
                  <a:cubicBezTo>
                    <a:pt x="693" y="39"/>
                    <a:pt x="672" y="84"/>
                    <a:pt x="669" y="99"/>
                  </a:cubicBezTo>
                  <a:cubicBezTo>
                    <a:pt x="664" y="126"/>
                    <a:pt x="680" y="156"/>
                    <a:pt x="686" y="167"/>
                  </a:cubicBezTo>
                  <a:cubicBezTo>
                    <a:pt x="696" y="187"/>
                    <a:pt x="703" y="210"/>
                    <a:pt x="703" y="234"/>
                  </a:cubicBezTo>
                  <a:cubicBezTo>
                    <a:pt x="703" y="314"/>
                    <a:pt x="638" y="379"/>
                    <a:pt x="557" y="379"/>
                  </a:cubicBezTo>
                  <a:cubicBezTo>
                    <a:pt x="477" y="379"/>
                    <a:pt x="412" y="314"/>
                    <a:pt x="412" y="234"/>
                  </a:cubicBezTo>
                  <a:cubicBezTo>
                    <a:pt x="412" y="210"/>
                    <a:pt x="418" y="187"/>
                    <a:pt x="429" y="167"/>
                  </a:cubicBezTo>
                  <a:cubicBezTo>
                    <a:pt x="435" y="156"/>
                    <a:pt x="451" y="126"/>
                    <a:pt x="446" y="99"/>
                  </a:cubicBezTo>
                  <a:cubicBezTo>
                    <a:pt x="443" y="84"/>
                    <a:pt x="422" y="39"/>
                    <a:pt x="372" y="24"/>
                  </a:cubicBezTo>
                  <a:cubicBezTo>
                    <a:pt x="372" y="24"/>
                    <a:pt x="289" y="0"/>
                    <a:pt x="186" y="0"/>
                  </a:cubicBezTo>
                  <a:cubicBezTo>
                    <a:pt x="84" y="0"/>
                    <a:pt x="0" y="24"/>
                    <a:pt x="0" y="24"/>
                  </a:cubicBezTo>
                  <a:cubicBezTo>
                    <a:pt x="0" y="1137"/>
                    <a:pt x="0" y="1137"/>
                    <a:pt x="0" y="1137"/>
                  </a:cubicBezTo>
                  <a:cubicBezTo>
                    <a:pt x="1113" y="1137"/>
                    <a:pt x="1113" y="1137"/>
                    <a:pt x="1113" y="1137"/>
                  </a:cubicBezTo>
                  <a:cubicBezTo>
                    <a:pt x="1110" y="1126"/>
                    <a:pt x="1089" y="1048"/>
                    <a:pt x="1089" y="953"/>
                  </a:cubicBezTo>
                  <a:cubicBezTo>
                    <a:pt x="1089" y="850"/>
                    <a:pt x="1113" y="767"/>
                    <a:pt x="1113" y="767"/>
                  </a:cubicBezTo>
                  <a:cubicBezTo>
                    <a:pt x="1128" y="716"/>
                    <a:pt x="1173" y="696"/>
                    <a:pt x="1188" y="693"/>
                  </a:cubicBezTo>
                  <a:cubicBezTo>
                    <a:pt x="1215" y="688"/>
                    <a:pt x="1245" y="704"/>
                    <a:pt x="1256" y="710"/>
                  </a:cubicBezTo>
                  <a:cubicBezTo>
                    <a:pt x="1276" y="720"/>
                    <a:pt x="1299" y="726"/>
                    <a:pt x="1323" y="726"/>
                  </a:cubicBezTo>
                  <a:cubicBezTo>
                    <a:pt x="1403" y="726"/>
                    <a:pt x="1468" y="661"/>
                    <a:pt x="1468" y="581"/>
                  </a:cubicBezTo>
                  <a:cubicBezTo>
                    <a:pt x="1468" y="501"/>
                    <a:pt x="1403" y="436"/>
                    <a:pt x="1323" y="4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" cap="flat">
              <a:noFill/>
              <a:prstDash val="solid"/>
              <a:miter lim="800000"/>
              <a:headEnd/>
              <a:tailEnd/>
            </a:ln>
            <a:sp3d extrusionH="190500" prstMaterial="matte">
              <a:bevelT w="38100" h="38100"/>
              <a:bevelB w="38100" h="38100"/>
            </a:sp3d>
          </p:spPr>
          <p:txBody>
            <a:bodyPr vert="horz" wrap="square" lIns="216000" tIns="0" rIns="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r>
                <a:rPr lang="en-GB" sz="2400">
                  <a:solidFill>
                    <a:schemeClr val="bg1"/>
                  </a:solidFill>
                  <a:latin typeface="BMWGroupTN Condensed" pitchFamily="50" charset="0"/>
                  <a:cs typeface="Arial" charset="0"/>
                  <a:sym typeface="BMW Group Condensed" panose="020B0606020202020204" pitchFamily="34" charset="0"/>
                </a:rPr>
                <a:t>POKA</a:t>
              </a:r>
            </a:p>
          </p:txBody>
        </p:sp>
        <p:sp>
          <p:nvSpPr>
            <p:cNvPr id="44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11304588" y="4852988"/>
              <a:ext cx="1549400" cy="2001838"/>
            </a:xfrm>
            <a:custGeom>
              <a:avLst/>
              <a:gdLst/>
              <a:ahLst/>
              <a:cxnLst>
                <a:cxn ang="0">
                  <a:pos x="953" y="380"/>
                </a:cxn>
                <a:cxn ang="0">
                  <a:pos x="767" y="355"/>
                </a:cxn>
                <a:cxn ang="0">
                  <a:pos x="693" y="280"/>
                </a:cxn>
                <a:cxn ang="0">
                  <a:pos x="710" y="212"/>
                </a:cxn>
                <a:cxn ang="0">
                  <a:pos x="726" y="145"/>
                </a:cxn>
                <a:cxn ang="0">
                  <a:pos x="581" y="0"/>
                </a:cxn>
                <a:cxn ang="0">
                  <a:pos x="436" y="145"/>
                </a:cxn>
                <a:cxn ang="0">
                  <a:pos x="452" y="212"/>
                </a:cxn>
                <a:cxn ang="0">
                  <a:pos x="469" y="280"/>
                </a:cxn>
                <a:cxn ang="0">
                  <a:pos x="396" y="355"/>
                </a:cxn>
                <a:cxn ang="0">
                  <a:pos x="210" y="380"/>
                </a:cxn>
                <a:cxn ang="0">
                  <a:pos x="24" y="355"/>
                </a:cxn>
                <a:cxn ang="0">
                  <a:pos x="24" y="355"/>
                </a:cxn>
                <a:cxn ang="0">
                  <a:pos x="0" y="541"/>
                </a:cxn>
                <a:cxn ang="0">
                  <a:pos x="24" y="726"/>
                </a:cxn>
                <a:cxn ang="0">
                  <a:pos x="99" y="800"/>
                </a:cxn>
                <a:cxn ang="0">
                  <a:pos x="167" y="783"/>
                </a:cxn>
                <a:cxn ang="0">
                  <a:pos x="234" y="767"/>
                </a:cxn>
                <a:cxn ang="0">
                  <a:pos x="379" y="912"/>
                </a:cxn>
                <a:cxn ang="0">
                  <a:pos x="234" y="1057"/>
                </a:cxn>
                <a:cxn ang="0">
                  <a:pos x="167" y="1041"/>
                </a:cxn>
                <a:cxn ang="0">
                  <a:pos x="99" y="1024"/>
                </a:cxn>
                <a:cxn ang="0">
                  <a:pos x="24" y="1098"/>
                </a:cxn>
                <a:cxn ang="0">
                  <a:pos x="0" y="1284"/>
                </a:cxn>
                <a:cxn ang="0">
                  <a:pos x="24" y="1468"/>
                </a:cxn>
                <a:cxn ang="0">
                  <a:pos x="24" y="1469"/>
                </a:cxn>
                <a:cxn ang="0">
                  <a:pos x="24" y="1468"/>
                </a:cxn>
                <a:cxn ang="0">
                  <a:pos x="1137" y="1468"/>
                </a:cxn>
                <a:cxn ang="0">
                  <a:pos x="1137" y="356"/>
                </a:cxn>
                <a:cxn ang="0">
                  <a:pos x="953" y="380"/>
                </a:cxn>
              </a:cxnLst>
              <a:rect l="0" t="0" r="r" b="b"/>
              <a:pathLst>
                <a:path w="1137" h="1469">
                  <a:moveTo>
                    <a:pt x="953" y="380"/>
                  </a:moveTo>
                  <a:cubicBezTo>
                    <a:pt x="850" y="380"/>
                    <a:pt x="767" y="355"/>
                    <a:pt x="767" y="355"/>
                  </a:cubicBezTo>
                  <a:cubicBezTo>
                    <a:pt x="716" y="340"/>
                    <a:pt x="696" y="296"/>
                    <a:pt x="693" y="280"/>
                  </a:cubicBezTo>
                  <a:cubicBezTo>
                    <a:pt x="688" y="253"/>
                    <a:pt x="704" y="223"/>
                    <a:pt x="710" y="212"/>
                  </a:cubicBezTo>
                  <a:cubicBezTo>
                    <a:pt x="720" y="192"/>
                    <a:pt x="726" y="169"/>
                    <a:pt x="726" y="145"/>
                  </a:cubicBezTo>
                  <a:cubicBezTo>
                    <a:pt x="726" y="65"/>
                    <a:pt x="661" y="0"/>
                    <a:pt x="581" y="0"/>
                  </a:cubicBezTo>
                  <a:cubicBezTo>
                    <a:pt x="501" y="0"/>
                    <a:pt x="436" y="65"/>
                    <a:pt x="436" y="145"/>
                  </a:cubicBezTo>
                  <a:cubicBezTo>
                    <a:pt x="436" y="169"/>
                    <a:pt x="442" y="192"/>
                    <a:pt x="452" y="212"/>
                  </a:cubicBezTo>
                  <a:cubicBezTo>
                    <a:pt x="459" y="223"/>
                    <a:pt x="474" y="253"/>
                    <a:pt x="469" y="280"/>
                  </a:cubicBezTo>
                  <a:cubicBezTo>
                    <a:pt x="466" y="296"/>
                    <a:pt x="446" y="340"/>
                    <a:pt x="396" y="355"/>
                  </a:cubicBezTo>
                  <a:cubicBezTo>
                    <a:pt x="396" y="355"/>
                    <a:pt x="312" y="380"/>
                    <a:pt x="210" y="380"/>
                  </a:cubicBezTo>
                  <a:cubicBezTo>
                    <a:pt x="107" y="380"/>
                    <a:pt x="24" y="355"/>
                    <a:pt x="24" y="355"/>
                  </a:cubicBezTo>
                  <a:cubicBezTo>
                    <a:pt x="24" y="355"/>
                    <a:pt x="24" y="355"/>
                    <a:pt x="24" y="355"/>
                  </a:cubicBezTo>
                  <a:cubicBezTo>
                    <a:pt x="24" y="355"/>
                    <a:pt x="0" y="438"/>
                    <a:pt x="0" y="541"/>
                  </a:cubicBezTo>
                  <a:cubicBezTo>
                    <a:pt x="0" y="643"/>
                    <a:pt x="24" y="726"/>
                    <a:pt x="24" y="726"/>
                  </a:cubicBezTo>
                  <a:cubicBezTo>
                    <a:pt x="39" y="777"/>
                    <a:pt x="84" y="797"/>
                    <a:pt x="99" y="800"/>
                  </a:cubicBezTo>
                  <a:cubicBezTo>
                    <a:pt x="126" y="805"/>
                    <a:pt x="156" y="790"/>
                    <a:pt x="167" y="783"/>
                  </a:cubicBezTo>
                  <a:cubicBezTo>
                    <a:pt x="187" y="773"/>
                    <a:pt x="210" y="767"/>
                    <a:pt x="234" y="767"/>
                  </a:cubicBezTo>
                  <a:cubicBezTo>
                    <a:pt x="314" y="767"/>
                    <a:pt x="379" y="832"/>
                    <a:pt x="379" y="912"/>
                  </a:cubicBezTo>
                  <a:cubicBezTo>
                    <a:pt x="379" y="992"/>
                    <a:pt x="314" y="1057"/>
                    <a:pt x="234" y="1057"/>
                  </a:cubicBezTo>
                  <a:cubicBezTo>
                    <a:pt x="210" y="1057"/>
                    <a:pt x="187" y="1051"/>
                    <a:pt x="167" y="1041"/>
                  </a:cubicBezTo>
                  <a:cubicBezTo>
                    <a:pt x="156" y="1035"/>
                    <a:pt x="126" y="1019"/>
                    <a:pt x="99" y="1024"/>
                  </a:cubicBezTo>
                  <a:cubicBezTo>
                    <a:pt x="84" y="1027"/>
                    <a:pt x="39" y="1047"/>
                    <a:pt x="24" y="1098"/>
                  </a:cubicBezTo>
                  <a:cubicBezTo>
                    <a:pt x="24" y="1098"/>
                    <a:pt x="0" y="1181"/>
                    <a:pt x="0" y="1284"/>
                  </a:cubicBezTo>
                  <a:cubicBezTo>
                    <a:pt x="0" y="1379"/>
                    <a:pt x="21" y="1457"/>
                    <a:pt x="24" y="1468"/>
                  </a:cubicBezTo>
                  <a:cubicBezTo>
                    <a:pt x="24" y="1469"/>
                    <a:pt x="24" y="1469"/>
                    <a:pt x="24" y="1469"/>
                  </a:cubicBezTo>
                  <a:cubicBezTo>
                    <a:pt x="24" y="1468"/>
                    <a:pt x="24" y="1468"/>
                    <a:pt x="24" y="1468"/>
                  </a:cubicBezTo>
                  <a:cubicBezTo>
                    <a:pt x="1137" y="1468"/>
                    <a:pt x="1137" y="1468"/>
                    <a:pt x="1137" y="1468"/>
                  </a:cubicBezTo>
                  <a:cubicBezTo>
                    <a:pt x="1137" y="356"/>
                    <a:pt x="1137" y="356"/>
                    <a:pt x="1137" y="356"/>
                  </a:cubicBezTo>
                  <a:cubicBezTo>
                    <a:pt x="1126" y="359"/>
                    <a:pt x="1048" y="380"/>
                    <a:pt x="953" y="380"/>
                  </a:cubicBezTo>
                  <a:close/>
                </a:path>
              </a:pathLst>
            </a:custGeom>
            <a:grpFill/>
            <a:ln w="9" cap="flat">
              <a:noFill/>
              <a:prstDash val="solid"/>
              <a:miter lim="800000"/>
              <a:headEnd/>
              <a:tailEnd/>
            </a:ln>
            <a:sp3d extrusionH="190500" prstMaterial="matte">
              <a:bevelT w="38100" h="38100"/>
              <a:bevelB w="38100" h="38100"/>
            </a:sp3d>
          </p:spPr>
          <p:txBody>
            <a:bodyPr vert="horz" wrap="square" lIns="0" tIns="0" rIns="216000" bIns="216000" numCol="1" anchor="b" anchorCtr="0" compatLnSpc="1">
              <a:prstTxWarp prst="textNoShape">
                <a:avLst/>
              </a:prstTxWarp>
            </a:bodyPr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</a:pPr>
              <a:r>
                <a:rPr lang="en-GB" sz="2400" dirty="0">
                  <a:solidFill>
                    <a:schemeClr val="bg1"/>
                  </a:solidFill>
                  <a:latin typeface="BMWGroupTN Condensed" pitchFamily="50" charset="0"/>
                  <a:cs typeface="Arial" charset="0"/>
                  <a:sym typeface="BMW Group Condensed" panose="020B0606020202020204" pitchFamily="34" charset="0"/>
                </a:rPr>
                <a:t>YOKE</a:t>
              </a:r>
            </a:p>
          </p:txBody>
        </p:sp>
      </p:grpSp>
      <p:pic>
        <p:nvPicPr>
          <p:cNvPr id="7170" name="Picture 2" descr="Everything You Need to Know for Effective UX Writing Brainstorming | The  Frontitude Blog">
            <a:extLst>
              <a:ext uri="{FF2B5EF4-FFF2-40B4-BE49-F238E27FC236}">
                <a16:creationId xmlns:a16="http://schemas.microsoft.com/office/drawing/2014/main" id="{32C4A2DA-AB69-E744-4500-F2DBF08439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015" r="26902" b="10655"/>
          <a:stretch/>
        </p:blipFill>
        <p:spPr bwMode="auto">
          <a:xfrm>
            <a:off x="8195691" y="344488"/>
            <a:ext cx="3241961" cy="303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6B30320D-24A1-BDCA-FFC1-2184E375B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en-US">
                <a:solidFill>
                  <a:schemeClr val="accent2">
                    <a:lumMod val="50000"/>
                  </a:schemeClr>
                </a:solidFill>
                <a:latin typeface="BMW Group Condensed Bold" panose="020B0806020202020204" pitchFamily="34" charset="0"/>
              </a:rPr>
              <a:t>Preventive measures</a:t>
            </a:r>
            <a:endParaRPr lang="en-US">
              <a:latin typeface="BMW Group Condensed Bold" panose="020B08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571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03FC3-86C2-3757-5148-EE39238A6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44488"/>
            <a:ext cx="11223628" cy="400110"/>
          </a:xfrm>
        </p:spPr>
        <p:txBody>
          <a:bodyPr/>
          <a:lstStyle/>
          <a:p>
            <a:r>
              <a:rPr lang="en-GB" b="1"/>
              <a:t>7 qc tools</a:t>
            </a:r>
          </a:p>
        </p:txBody>
      </p:sp>
      <p:grpSp>
        <p:nvGrpSpPr>
          <p:cNvPr id="2049" name="Group 2048">
            <a:extLst>
              <a:ext uri="{FF2B5EF4-FFF2-40B4-BE49-F238E27FC236}">
                <a16:creationId xmlns:a16="http://schemas.microsoft.com/office/drawing/2014/main" id="{80989EEE-4B0D-3BEC-E6AC-8471CBBBC478}"/>
              </a:ext>
            </a:extLst>
          </p:cNvPr>
          <p:cNvGrpSpPr/>
          <p:nvPr/>
        </p:nvGrpSpPr>
        <p:grpSpPr>
          <a:xfrm>
            <a:off x="479425" y="1412875"/>
            <a:ext cx="11233150" cy="4832650"/>
            <a:chOff x="263763" y="980625"/>
            <a:chExt cx="11448812" cy="5233209"/>
          </a:xfrm>
        </p:grpSpPr>
        <p:pic>
          <p:nvPicPr>
            <p:cNvPr id="2052" name="Picture 4" descr="edit the uploaded image by replacing the word &quot;CHECKLIST&quot; with &quot;CHECK SHEET&quot; while keeping the rest of the layout intact">
              <a:extLst>
                <a:ext uri="{FF2B5EF4-FFF2-40B4-BE49-F238E27FC236}">
                  <a16:creationId xmlns:a16="http://schemas.microsoft.com/office/drawing/2014/main" id="{E34C5F68-858C-75FE-9143-A8CB2FE196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29" t="7094" r="5714" b="8710"/>
            <a:stretch/>
          </p:blipFill>
          <p:spPr bwMode="auto">
            <a:xfrm>
              <a:off x="959109" y="980625"/>
              <a:ext cx="957532" cy="9134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create a fishbone diagram with editable labels for categories like Man, Machine, Method, Material, Measurement, and Environment. Use a clean layout suitable for audit documentation.">
              <a:extLst>
                <a:ext uri="{FF2B5EF4-FFF2-40B4-BE49-F238E27FC236}">
                  <a16:creationId xmlns:a16="http://schemas.microsoft.com/office/drawing/2014/main" id="{5EA920C1-82B3-219F-142E-6E64C69049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51" t="12661" r="10223" b="12594"/>
            <a:stretch/>
          </p:blipFill>
          <p:spPr bwMode="auto">
            <a:xfrm>
              <a:off x="4079875" y="980625"/>
              <a:ext cx="879396" cy="8213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create a clean, audit-friendly line chart template with editable axes and title. Include sample data points and gridlines for clarity. Use a layout suitable for export documentation or dashboard integration.">
              <a:extLst>
                <a:ext uri="{FF2B5EF4-FFF2-40B4-BE49-F238E27FC236}">
                  <a16:creationId xmlns:a16="http://schemas.microsoft.com/office/drawing/2014/main" id="{4C685C38-586C-30C3-7A7E-7D0E3AF949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91" t="10943" r="9832" b="11070"/>
            <a:stretch/>
          </p:blipFill>
          <p:spPr bwMode="auto">
            <a:xfrm>
              <a:off x="7109964" y="994379"/>
              <a:ext cx="862641" cy="836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create a clean, audit-friendly Pareto chart template with editable axes and title. Include sample data bars in descending order and a cumulative line. Use a layout suitable for export documentation or dashboard integration.">
              <a:extLst>
                <a:ext uri="{FF2B5EF4-FFF2-40B4-BE49-F238E27FC236}">
                  <a16:creationId xmlns:a16="http://schemas.microsoft.com/office/drawing/2014/main" id="{DFF0E64C-9B13-DAF0-7E1D-9039248B35C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65" t="10693" r="9455" b="10817"/>
            <a:stretch/>
          </p:blipFill>
          <p:spPr bwMode="auto">
            <a:xfrm>
              <a:off x="10088508" y="980625"/>
              <a:ext cx="890822" cy="864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2" name="Picture 14" descr="edit the previously generated flow chart image by removing the X and Y axes while keeping the process blocks and arrows intact">
              <a:extLst>
                <a:ext uri="{FF2B5EF4-FFF2-40B4-BE49-F238E27FC236}">
                  <a16:creationId xmlns:a16="http://schemas.microsoft.com/office/drawing/2014/main" id="{5856C5E3-1B7E-7557-69EB-705B0968D6B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28" t="11439" r="10535" b="11203"/>
            <a:stretch/>
          </p:blipFill>
          <p:spPr bwMode="auto">
            <a:xfrm>
              <a:off x="2487826" y="3692103"/>
              <a:ext cx="858276" cy="845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4" name="Picture 16" descr="edit the previously generated histogram image by adding X and Y axes with tick marks and labels. Keep the bars and layout intact.">
              <a:extLst>
                <a:ext uri="{FF2B5EF4-FFF2-40B4-BE49-F238E27FC236}">
                  <a16:creationId xmlns:a16="http://schemas.microsoft.com/office/drawing/2014/main" id="{C03A0244-4D60-5C7F-6421-4A064BA251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00" t="12076" r="11467" b="11950"/>
            <a:stretch/>
          </p:blipFill>
          <p:spPr bwMode="auto">
            <a:xfrm>
              <a:off x="5556129" y="3724754"/>
              <a:ext cx="870549" cy="806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 descr="create a clean, audit-friendly scatter diagram template with editable X and Y axes and title. Include sample data points scattered across the plot area. Use a layout suitable for export documentation or dashboard integration.">
              <a:extLst>
                <a:ext uri="{FF2B5EF4-FFF2-40B4-BE49-F238E27FC236}">
                  <a16:creationId xmlns:a16="http://schemas.microsoft.com/office/drawing/2014/main" id="{B3DB2090-6EDF-31B3-7E09-7587CBE03B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20" t="10731" r="9827" b="10496"/>
            <a:stretch/>
          </p:blipFill>
          <p:spPr bwMode="auto">
            <a:xfrm>
              <a:off x="8747184" y="3724756"/>
              <a:ext cx="877440" cy="864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25" name="Diagram 24">
              <a:extLst>
                <a:ext uri="{FF2B5EF4-FFF2-40B4-BE49-F238E27FC236}">
                  <a16:creationId xmlns:a16="http://schemas.microsoft.com/office/drawing/2014/main" id="{9EC2DF5D-CEA2-F1D9-5E27-C43A08B95F4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159416498"/>
                </p:ext>
              </p:extLst>
            </p:nvPr>
          </p:nvGraphicFramePr>
          <p:xfrm>
            <a:off x="263763" y="1552755"/>
            <a:ext cx="2306910" cy="234603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graphicFrame>
          <p:nvGraphicFramePr>
            <p:cNvPr id="27" name="Diagram 26">
              <a:extLst>
                <a:ext uri="{FF2B5EF4-FFF2-40B4-BE49-F238E27FC236}">
                  <a16:creationId xmlns:a16="http://schemas.microsoft.com/office/drawing/2014/main" id="{6B0A2B88-CFDE-F7DA-0B34-E2FFDB00806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60699697"/>
                </p:ext>
              </p:extLst>
            </p:nvPr>
          </p:nvGraphicFramePr>
          <p:xfrm>
            <a:off x="1713361" y="4522971"/>
            <a:ext cx="2366514" cy="156966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4" r:lo="rId15" r:qs="rId16" r:cs="rId17"/>
            </a:graphicData>
          </a:graphic>
        </p:graphicFrame>
        <p:graphicFrame>
          <p:nvGraphicFramePr>
            <p:cNvPr id="26" name="Diagram 25">
              <a:extLst>
                <a:ext uri="{FF2B5EF4-FFF2-40B4-BE49-F238E27FC236}">
                  <a16:creationId xmlns:a16="http://schemas.microsoft.com/office/drawing/2014/main" id="{6994DC7A-7CC6-9830-B975-C9F65A1DFCC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66862023"/>
                </p:ext>
              </p:extLst>
            </p:nvPr>
          </p:nvGraphicFramePr>
          <p:xfrm>
            <a:off x="3414562" y="1857888"/>
            <a:ext cx="2279531" cy="17543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9" r:lo="rId20" r:qs="rId21" r:cs="rId22"/>
            </a:graphicData>
          </a:graphic>
        </p:graphicFrame>
        <p:graphicFrame>
          <p:nvGraphicFramePr>
            <p:cNvPr id="28" name="Diagram 27">
              <a:extLst>
                <a:ext uri="{FF2B5EF4-FFF2-40B4-BE49-F238E27FC236}">
                  <a16:creationId xmlns:a16="http://schemas.microsoft.com/office/drawing/2014/main" id="{EE74E59B-1A0C-ADBD-2E67-2543A490673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29024303"/>
                </p:ext>
              </p:extLst>
            </p:nvPr>
          </p:nvGraphicFramePr>
          <p:xfrm>
            <a:off x="5018417" y="4459508"/>
            <a:ext cx="2124254" cy="17543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4" r:lo="rId25" r:qs="rId26" r:cs="rId27"/>
            </a:graphicData>
          </a:graphic>
        </p:graphicFrame>
        <p:graphicFrame>
          <p:nvGraphicFramePr>
            <p:cNvPr id="29" name="Diagram 28">
              <a:extLst>
                <a:ext uri="{FF2B5EF4-FFF2-40B4-BE49-F238E27FC236}">
                  <a16:creationId xmlns:a16="http://schemas.microsoft.com/office/drawing/2014/main" id="{DA7DBCEE-ED7E-6EE2-D428-6C18DDA39BD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54606039"/>
                </p:ext>
              </p:extLst>
            </p:nvPr>
          </p:nvGraphicFramePr>
          <p:xfrm>
            <a:off x="6502161" y="1866036"/>
            <a:ext cx="2115629" cy="17543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9" r:lo="rId30" r:qs="rId31" r:cs="rId32"/>
            </a:graphicData>
          </a:graphic>
        </p:graphicFrame>
        <p:graphicFrame>
          <p:nvGraphicFramePr>
            <p:cNvPr id="31" name="Diagram 30">
              <a:extLst>
                <a:ext uri="{FF2B5EF4-FFF2-40B4-BE49-F238E27FC236}">
                  <a16:creationId xmlns:a16="http://schemas.microsoft.com/office/drawing/2014/main" id="{24B44653-8484-A098-D525-E344F754E42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10861966"/>
                </p:ext>
              </p:extLst>
            </p:nvPr>
          </p:nvGraphicFramePr>
          <p:xfrm>
            <a:off x="8124825" y="4816702"/>
            <a:ext cx="2317450" cy="1342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4" r:lo="rId35" r:qs="rId36" r:cs="rId37"/>
            </a:graphicData>
          </a:graphic>
        </p:graphicFrame>
        <p:graphicFrame>
          <p:nvGraphicFramePr>
            <p:cNvPr id="30" name="Diagram 29">
              <a:extLst>
                <a:ext uri="{FF2B5EF4-FFF2-40B4-BE49-F238E27FC236}">
                  <a16:creationId xmlns:a16="http://schemas.microsoft.com/office/drawing/2014/main" id="{AD83018A-4A5A-085C-5176-8C5E2B1D064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07868662"/>
                </p:ext>
              </p:extLst>
            </p:nvPr>
          </p:nvGraphicFramePr>
          <p:xfrm>
            <a:off x="9471802" y="1909169"/>
            <a:ext cx="2240773" cy="161040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9" r:lo="rId40" r:qs="rId41" r:cs="rId4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882791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QC Tools</a:t>
            </a:r>
            <a:br>
              <a:rPr lang="en-US" dirty="0"/>
            </a:br>
            <a:r>
              <a:rPr lang="en-US" dirty="0"/>
              <a:t>Tool no. 1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A65B83-0F37-7704-75E5-CBF79E6FD21A}"/>
              </a:ext>
            </a:extLst>
          </p:cNvPr>
          <p:cNvGrpSpPr/>
          <p:nvPr/>
        </p:nvGrpSpPr>
        <p:grpSpPr>
          <a:xfrm>
            <a:off x="488948" y="1804768"/>
            <a:ext cx="11224685" cy="2469000"/>
            <a:chOff x="477838" y="1906606"/>
            <a:chExt cx="4333059" cy="145053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AACFF50-161F-E1DF-EE82-3D6D4F1713F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77838" y="1906606"/>
              <a:ext cx="4333059" cy="461665"/>
            </a:xfrm>
            <a:prstGeom prst="rect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</a:gra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/>
            <a:p>
              <a:pPr>
                <a:buClr>
                  <a:schemeClr val="tx1"/>
                </a:buClr>
                <a:buFont typeface="Monotype Sorts" panose="05000000000000000000" pitchFamily="2" charset="2"/>
                <a:buNone/>
                <a:defRPr/>
              </a:pPr>
              <a:r>
                <a:rPr lang="en-US" altLang="en-US" sz="2400" dirty="0">
                  <a:solidFill>
                    <a:schemeClr val="bg1"/>
                  </a:solidFill>
                  <a:latin typeface="+mj-lt"/>
                </a:rPr>
                <a:t>AFFINITY DIAGRAM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409FD0-02FF-400C-D5BF-20A31E159CCF}"/>
                </a:ext>
              </a:extLst>
            </p:cNvPr>
            <p:cNvSpPr txBox="1"/>
            <p:nvPr/>
          </p:nvSpPr>
          <p:spPr>
            <a:xfrm>
              <a:off x="477838" y="2456584"/>
              <a:ext cx="2776108" cy="400110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>
              <a:defPPr>
                <a:defRPr lang="de-DE"/>
              </a:defPPr>
              <a:lvl1pPr>
                <a:defRPr sz="2000">
                  <a:solidFill>
                    <a:schemeClr val="bg1"/>
                  </a:solidFill>
                </a:defRPr>
              </a:lvl1pPr>
            </a:lstStyle>
            <a:p>
              <a:r>
                <a:rPr lang="en-US" altLang="en-US" dirty="0"/>
                <a:t>Fault Tree Analysi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90F467F-DCF6-E88C-0AF9-15DAC5D935CE}"/>
                </a:ext>
              </a:extLst>
            </p:cNvPr>
            <p:cNvSpPr txBox="1"/>
            <p:nvPr/>
          </p:nvSpPr>
          <p:spPr>
            <a:xfrm>
              <a:off x="477838" y="2957026"/>
              <a:ext cx="2776108" cy="400110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>
              <a:defPPr>
                <a:defRPr lang="de-DE"/>
              </a:defPPr>
              <a:lvl1pPr>
                <a:defRPr sz="2000">
                  <a:solidFill>
                    <a:schemeClr val="bg1"/>
                  </a:solidFill>
                </a:defRPr>
              </a:lvl1pPr>
            </a:lstStyle>
            <a:p>
              <a:r>
                <a:rPr lang="en-US" altLang="en-US" dirty="0"/>
                <a:t>Histograms</a:t>
              </a:r>
              <a:endParaRPr lang="en-US" altLang="en-US" sz="3600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A8254A-18A2-896C-2FAD-2A6CCBA81A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7DD6D6-E1D6-0EFB-DB34-ED98A3B051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70883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CE471C1-A870-116C-F7F0-22C2ED798604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488947" y="1413932"/>
          <a:ext cx="5782457" cy="40379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D86A5F3-B848-4432-3A6F-BCDCF0FFB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Group Condensed Bold" panose="020B0806020202020204" pitchFamily="34" charset="0"/>
              </a:rPr>
              <a:t>AFFINITY DIAGRA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E36CB5-25A3-741C-0980-518BEF12BF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505" y="741154"/>
            <a:ext cx="3997027" cy="544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7865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qC tools</a:t>
            </a:r>
            <a:br>
              <a:rPr lang="en-US" dirty="0"/>
            </a:br>
            <a:r>
              <a:rPr lang="en-US" dirty="0"/>
              <a:t>Tool no. 2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97E0E-0C82-6FCD-B4A6-AF0CB51BD18E}"/>
              </a:ext>
            </a:extLst>
          </p:cNvPr>
          <p:cNvGrpSpPr/>
          <p:nvPr/>
        </p:nvGrpSpPr>
        <p:grpSpPr>
          <a:xfrm>
            <a:off x="477838" y="1630393"/>
            <a:ext cx="11235795" cy="2570826"/>
            <a:chOff x="477838" y="1909423"/>
            <a:chExt cx="4333059" cy="144771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B3BBF58-BFE4-4A8B-B75A-79917331541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77838" y="2402447"/>
              <a:ext cx="4333059" cy="461665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/>
            <a:p>
              <a:pPr>
                <a:buClr>
                  <a:schemeClr val="tx1"/>
                </a:buClr>
                <a:buFont typeface="Monotype Sorts" panose="05000000000000000000" pitchFamily="2" charset="2"/>
                <a:buNone/>
                <a:defRPr/>
              </a:pPr>
              <a:r>
                <a:rPr lang="en-US" altLang="en-US" sz="2400" dirty="0">
                  <a:solidFill>
                    <a:schemeClr val="bg1"/>
                  </a:solidFill>
                  <a:latin typeface="+mj-lt"/>
                </a:rPr>
                <a:t>FAULT TREE ANALYSIS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67C3191-653C-4710-9D0F-241CFDB93B5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77838" y="1909423"/>
              <a:ext cx="2776108" cy="400110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>
              <a:defPPr>
                <a:defRPr lang="de-DE"/>
              </a:defPPr>
              <a:lvl1pPr>
                <a:defRPr sz="2000">
                  <a:solidFill>
                    <a:schemeClr val="bg1"/>
                  </a:solidFill>
                </a:defRPr>
              </a:lvl1pPr>
            </a:lstStyle>
            <a:p>
              <a:r>
                <a:rPr lang="en-US" altLang="en-US" dirty="0"/>
                <a:t>Affinity Diagram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4A458CD-4A6B-4110-B068-068C4755F360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77838" y="2957026"/>
              <a:ext cx="2776108" cy="400110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>
              <a:defPPr>
                <a:defRPr lang="de-DE"/>
              </a:defPPr>
              <a:lvl1pPr>
                <a:defRPr sz="2000">
                  <a:solidFill>
                    <a:schemeClr val="bg1"/>
                  </a:solidFill>
                </a:defRPr>
              </a:lvl1pPr>
            </a:lstStyle>
            <a:p>
              <a:r>
                <a:rPr lang="en-US" altLang="en-US" dirty="0"/>
                <a:t>Matrix Diagram</a:t>
              </a:r>
              <a:endParaRPr lang="en-US" altLang="en-US" sz="3600" dirty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392AC9-625A-EDF5-02CA-E0DB148892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AACC29-1FE9-1D45-3185-CD117CC908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5828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3FADF-40E8-D88C-5087-EACB792E2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35970"/>
                </a:solidFill>
              </a:rPr>
              <a:t>FAULT TREE ANALYSIS (fta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D2833F-4C6E-6585-5163-07BC253409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0E2779-B7D8-F36C-141A-9DDDE7780D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CBA819-FA72-DD2B-9397-DABAF4E2A78F}"/>
              </a:ext>
            </a:extLst>
          </p:cNvPr>
          <p:cNvGrpSpPr/>
          <p:nvPr/>
        </p:nvGrpSpPr>
        <p:grpSpPr>
          <a:xfrm>
            <a:off x="488948" y="1513023"/>
            <a:ext cx="5929105" cy="3809475"/>
            <a:chOff x="488948" y="1513023"/>
            <a:chExt cx="4721407" cy="316692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FDA22EF-4E5C-7D4A-C9F7-91F54C07D830}"/>
                </a:ext>
              </a:extLst>
            </p:cNvPr>
            <p:cNvSpPr/>
            <p:nvPr/>
          </p:nvSpPr>
          <p:spPr>
            <a:xfrm>
              <a:off x="488948" y="1513023"/>
              <a:ext cx="4721407" cy="1556100"/>
            </a:xfrm>
            <a:custGeom>
              <a:avLst/>
              <a:gdLst>
                <a:gd name="connsiteX0" fmla="*/ 0 w 4721407"/>
                <a:gd name="connsiteY0" fmla="*/ 259355 h 1556100"/>
                <a:gd name="connsiteX1" fmla="*/ 259355 w 4721407"/>
                <a:gd name="connsiteY1" fmla="*/ 0 h 1556100"/>
                <a:gd name="connsiteX2" fmla="*/ 4462052 w 4721407"/>
                <a:gd name="connsiteY2" fmla="*/ 0 h 1556100"/>
                <a:gd name="connsiteX3" fmla="*/ 4721407 w 4721407"/>
                <a:gd name="connsiteY3" fmla="*/ 259355 h 1556100"/>
                <a:gd name="connsiteX4" fmla="*/ 4721407 w 4721407"/>
                <a:gd name="connsiteY4" fmla="*/ 1296745 h 1556100"/>
                <a:gd name="connsiteX5" fmla="*/ 4462052 w 4721407"/>
                <a:gd name="connsiteY5" fmla="*/ 1556100 h 1556100"/>
                <a:gd name="connsiteX6" fmla="*/ 259355 w 4721407"/>
                <a:gd name="connsiteY6" fmla="*/ 1556100 h 1556100"/>
                <a:gd name="connsiteX7" fmla="*/ 0 w 4721407"/>
                <a:gd name="connsiteY7" fmla="*/ 1296745 h 1556100"/>
                <a:gd name="connsiteX8" fmla="*/ 0 w 4721407"/>
                <a:gd name="connsiteY8" fmla="*/ 259355 h 155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21407" h="1556100">
                  <a:moveTo>
                    <a:pt x="0" y="259355"/>
                  </a:moveTo>
                  <a:cubicBezTo>
                    <a:pt x="0" y="116117"/>
                    <a:pt x="116117" y="0"/>
                    <a:pt x="259355" y="0"/>
                  </a:cubicBezTo>
                  <a:lnTo>
                    <a:pt x="4462052" y="0"/>
                  </a:lnTo>
                  <a:cubicBezTo>
                    <a:pt x="4605290" y="0"/>
                    <a:pt x="4721407" y="116117"/>
                    <a:pt x="4721407" y="259355"/>
                  </a:cubicBezTo>
                  <a:lnTo>
                    <a:pt x="4721407" y="1296745"/>
                  </a:lnTo>
                  <a:cubicBezTo>
                    <a:pt x="4721407" y="1439983"/>
                    <a:pt x="4605290" y="1556100"/>
                    <a:pt x="4462052" y="1556100"/>
                  </a:cubicBezTo>
                  <a:lnTo>
                    <a:pt x="259355" y="1556100"/>
                  </a:lnTo>
                  <a:cubicBezTo>
                    <a:pt x="116117" y="1556100"/>
                    <a:pt x="0" y="1439983"/>
                    <a:pt x="0" y="1296745"/>
                  </a:cubicBezTo>
                  <a:lnTo>
                    <a:pt x="0" y="259355"/>
                  </a:lnTo>
                  <a:close/>
                </a:path>
              </a:pathLst>
            </a:custGeom>
            <a:solidFill>
              <a:srgbClr val="03597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8353" tIns="148353" rIns="148353" bIns="148353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900" b="1" kern="1200"/>
                <a:t>Use Case:</a:t>
              </a:r>
              <a:r>
                <a:rPr lang="en-IN" sz="1900" kern="1200"/>
                <a:t> Analysing complex system failures through logical breakdown of contributing factors. For example, Tracing production line stoppage through AND/OR gates to identify all possible failure combinations.</a:t>
              </a:r>
              <a:endParaRPr lang="en-US" sz="1900" kern="12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84B473C-31E5-FE0E-CB64-F833FD64EE14}"/>
                </a:ext>
              </a:extLst>
            </p:cNvPr>
            <p:cNvSpPr/>
            <p:nvPr/>
          </p:nvSpPr>
          <p:spPr>
            <a:xfrm>
              <a:off x="488948" y="3123844"/>
              <a:ext cx="4721407" cy="1556100"/>
            </a:xfrm>
            <a:custGeom>
              <a:avLst/>
              <a:gdLst>
                <a:gd name="connsiteX0" fmla="*/ 0 w 4721407"/>
                <a:gd name="connsiteY0" fmla="*/ 259355 h 1556100"/>
                <a:gd name="connsiteX1" fmla="*/ 259355 w 4721407"/>
                <a:gd name="connsiteY1" fmla="*/ 0 h 1556100"/>
                <a:gd name="connsiteX2" fmla="*/ 4462052 w 4721407"/>
                <a:gd name="connsiteY2" fmla="*/ 0 h 1556100"/>
                <a:gd name="connsiteX3" fmla="*/ 4721407 w 4721407"/>
                <a:gd name="connsiteY3" fmla="*/ 259355 h 1556100"/>
                <a:gd name="connsiteX4" fmla="*/ 4721407 w 4721407"/>
                <a:gd name="connsiteY4" fmla="*/ 1296745 h 1556100"/>
                <a:gd name="connsiteX5" fmla="*/ 4462052 w 4721407"/>
                <a:gd name="connsiteY5" fmla="*/ 1556100 h 1556100"/>
                <a:gd name="connsiteX6" fmla="*/ 259355 w 4721407"/>
                <a:gd name="connsiteY6" fmla="*/ 1556100 h 1556100"/>
                <a:gd name="connsiteX7" fmla="*/ 0 w 4721407"/>
                <a:gd name="connsiteY7" fmla="*/ 1296745 h 1556100"/>
                <a:gd name="connsiteX8" fmla="*/ 0 w 4721407"/>
                <a:gd name="connsiteY8" fmla="*/ 259355 h 155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21407" h="1556100">
                  <a:moveTo>
                    <a:pt x="0" y="259355"/>
                  </a:moveTo>
                  <a:cubicBezTo>
                    <a:pt x="0" y="116117"/>
                    <a:pt x="116117" y="0"/>
                    <a:pt x="259355" y="0"/>
                  </a:cubicBezTo>
                  <a:lnTo>
                    <a:pt x="4462052" y="0"/>
                  </a:lnTo>
                  <a:cubicBezTo>
                    <a:pt x="4605290" y="0"/>
                    <a:pt x="4721407" y="116117"/>
                    <a:pt x="4721407" y="259355"/>
                  </a:cubicBezTo>
                  <a:lnTo>
                    <a:pt x="4721407" y="1296745"/>
                  </a:lnTo>
                  <a:cubicBezTo>
                    <a:pt x="4721407" y="1439983"/>
                    <a:pt x="4605290" y="1556100"/>
                    <a:pt x="4462052" y="1556100"/>
                  </a:cubicBezTo>
                  <a:lnTo>
                    <a:pt x="259355" y="1556100"/>
                  </a:lnTo>
                  <a:cubicBezTo>
                    <a:pt x="116117" y="1556100"/>
                    <a:pt x="0" y="1439983"/>
                    <a:pt x="0" y="1296745"/>
                  </a:cubicBezTo>
                  <a:lnTo>
                    <a:pt x="0" y="259355"/>
                  </a:lnTo>
                  <a:close/>
                </a:path>
              </a:pathLst>
            </a:custGeom>
            <a:solidFill>
              <a:srgbClr val="BBCBD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8353" tIns="148353" rIns="148353" bIns="148353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900" kern="1200" dirty="0"/>
                <a:t>Fault Tree Analysis maps failure logic through Boolean relationships between contributing events. By calculating path probabilities, teams identify critical failure modes and optimal prevention points for maximum system reliability.</a:t>
              </a:r>
              <a:endParaRPr lang="en-US" sz="1900" kern="1200" dirty="0"/>
            </a:p>
          </p:txBody>
        </p:sp>
      </p:grpSp>
      <p:pic>
        <p:nvPicPr>
          <p:cNvPr id="1026" name="Picture 2" descr="A Brief Introduction to Fault Tree Analysis - Accendo Reliability">
            <a:extLst>
              <a:ext uri="{FF2B5EF4-FFF2-40B4-BE49-F238E27FC236}">
                <a16:creationId xmlns:a16="http://schemas.microsoft.com/office/drawing/2014/main" id="{131F9197-7776-3C6C-3F74-E86A1CD39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28" y="1690497"/>
            <a:ext cx="4543425" cy="325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99581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qC tools</a:t>
            </a:r>
            <a:br>
              <a:rPr lang="en-US" dirty="0"/>
            </a:br>
            <a:r>
              <a:rPr lang="en-US" dirty="0"/>
              <a:t>Tool no. 3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151E3A9-C1EE-44BB-2B21-6C134C132D4A}"/>
              </a:ext>
            </a:extLst>
          </p:cNvPr>
          <p:cNvGrpSpPr/>
          <p:nvPr/>
        </p:nvGrpSpPr>
        <p:grpSpPr>
          <a:xfrm>
            <a:off x="488948" y="1785668"/>
            <a:ext cx="11224685" cy="2497537"/>
            <a:chOff x="488948" y="1931573"/>
            <a:chExt cx="4333059" cy="142229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B3BBF58-BFE4-4A8B-B75A-79917331541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88948" y="2892207"/>
              <a:ext cx="4333059" cy="461665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rtlCol="0">
              <a:noAutofit/>
            </a:bodyPr>
            <a:lstStyle/>
            <a:p>
              <a:pPr>
                <a:buClr>
                  <a:schemeClr val="tx1"/>
                </a:buClr>
                <a:buFont typeface="Monotype Sorts" panose="05000000000000000000" pitchFamily="2" charset="2"/>
                <a:buNone/>
                <a:defRPr/>
              </a:pPr>
              <a:r>
                <a:rPr lang="en-US" altLang="en-US" sz="2400" dirty="0">
                  <a:solidFill>
                    <a:schemeClr val="bg1"/>
                  </a:solidFill>
                  <a:latin typeface="+mj-lt"/>
                </a:rPr>
                <a:t>MATRIX DIAGRAM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526AEB2-EA4F-171E-3A3E-39A25399A6F2}"/>
                </a:ext>
              </a:extLst>
            </p:cNvPr>
            <p:cNvGrpSpPr/>
            <p:nvPr/>
          </p:nvGrpSpPr>
          <p:grpSpPr>
            <a:xfrm>
              <a:off x="500058" y="1931573"/>
              <a:ext cx="2776108" cy="880294"/>
              <a:chOff x="500058" y="1931573"/>
              <a:chExt cx="2776108" cy="880294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367C3191-653C-4710-9D0F-241CFDB93B5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00058" y="2411757"/>
                <a:ext cx="2776108" cy="400110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rtlCol="0">
                <a:noAutofit/>
              </a:bodyPr>
              <a:lstStyle>
                <a:defPPr>
                  <a:defRPr lang="de-DE"/>
                </a:defPPr>
                <a:lvl1pPr>
                  <a:defRPr sz="2000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altLang="en-US" dirty="0"/>
                  <a:t>Fault Tree Analysis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076ACFE-39F7-4C81-843B-F5BCC6AC9A2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500058" y="1931573"/>
                <a:ext cx="2776108" cy="400110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rtlCol="0">
                <a:noAutofit/>
              </a:bodyPr>
              <a:lstStyle>
                <a:defPPr>
                  <a:defRPr lang="de-DE"/>
                </a:defPPr>
                <a:lvl1pPr>
                  <a:defRPr sz="2000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altLang="en-US" dirty="0"/>
                  <a:t>Affinity Diagram</a:t>
                </a:r>
              </a:p>
            </p:txBody>
          </p:sp>
        </p:grp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4DB57C-9828-4B03-C660-8147560C0C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5524F9-BDB5-E0FA-C44A-D63E0723DA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35858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659CC-BF3E-FDD9-D8F5-0E9780665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35970"/>
                </a:solidFill>
                <a:latin typeface="BMW Group Condensed Bold" panose="020B0806020202020204" pitchFamily="34" charset="0"/>
              </a:rPr>
              <a:t>MATRIX DIAGR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DAE3A4-D2A5-7D2F-7071-C8D19A42F9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0FC87E-661F-8322-F747-DDE184BAE6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29</a:t>
            </a:fld>
            <a:endParaRPr lang="de-DE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1D8E25-FE6A-9647-559F-23115950213B}"/>
              </a:ext>
            </a:extLst>
          </p:cNvPr>
          <p:cNvGrpSpPr/>
          <p:nvPr/>
        </p:nvGrpSpPr>
        <p:grpSpPr>
          <a:xfrm>
            <a:off x="488948" y="1637736"/>
            <a:ext cx="5911851" cy="3555366"/>
            <a:chOff x="488949" y="1637736"/>
            <a:chExt cx="5377014" cy="249479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DA40710-376F-0DFD-B20F-9C0390948697}"/>
                </a:ext>
              </a:extLst>
            </p:cNvPr>
            <p:cNvSpPr/>
            <p:nvPr/>
          </p:nvSpPr>
          <p:spPr>
            <a:xfrm>
              <a:off x="488949" y="1637736"/>
              <a:ext cx="5377014" cy="1221479"/>
            </a:xfrm>
            <a:custGeom>
              <a:avLst/>
              <a:gdLst>
                <a:gd name="connsiteX0" fmla="*/ 0 w 5377014"/>
                <a:gd name="connsiteY0" fmla="*/ 203584 h 1221479"/>
                <a:gd name="connsiteX1" fmla="*/ 203584 w 5377014"/>
                <a:gd name="connsiteY1" fmla="*/ 0 h 1221479"/>
                <a:gd name="connsiteX2" fmla="*/ 5173430 w 5377014"/>
                <a:gd name="connsiteY2" fmla="*/ 0 h 1221479"/>
                <a:gd name="connsiteX3" fmla="*/ 5377014 w 5377014"/>
                <a:gd name="connsiteY3" fmla="*/ 203584 h 1221479"/>
                <a:gd name="connsiteX4" fmla="*/ 5377014 w 5377014"/>
                <a:gd name="connsiteY4" fmla="*/ 1017895 h 1221479"/>
                <a:gd name="connsiteX5" fmla="*/ 5173430 w 5377014"/>
                <a:gd name="connsiteY5" fmla="*/ 1221479 h 1221479"/>
                <a:gd name="connsiteX6" fmla="*/ 203584 w 5377014"/>
                <a:gd name="connsiteY6" fmla="*/ 1221479 h 1221479"/>
                <a:gd name="connsiteX7" fmla="*/ 0 w 5377014"/>
                <a:gd name="connsiteY7" fmla="*/ 1017895 h 1221479"/>
                <a:gd name="connsiteX8" fmla="*/ 0 w 5377014"/>
                <a:gd name="connsiteY8" fmla="*/ 203584 h 122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7014" h="1221479">
                  <a:moveTo>
                    <a:pt x="0" y="203584"/>
                  </a:moveTo>
                  <a:cubicBezTo>
                    <a:pt x="0" y="91148"/>
                    <a:pt x="91148" y="0"/>
                    <a:pt x="203584" y="0"/>
                  </a:cubicBezTo>
                  <a:lnTo>
                    <a:pt x="5173430" y="0"/>
                  </a:lnTo>
                  <a:cubicBezTo>
                    <a:pt x="5285866" y="0"/>
                    <a:pt x="5377014" y="91148"/>
                    <a:pt x="5377014" y="203584"/>
                  </a:cubicBezTo>
                  <a:lnTo>
                    <a:pt x="5377014" y="1017895"/>
                  </a:lnTo>
                  <a:cubicBezTo>
                    <a:pt x="5377014" y="1130331"/>
                    <a:pt x="5285866" y="1221479"/>
                    <a:pt x="5173430" y="1221479"/>
                  </a:cubicBezTo>
                  <a:lnTo>
                    <a:pt x="203584" y="1221479"/>
                  </a:lnTo>
                  <a:cubicBezTo>
                    <a:pt x="91148" y="1221479"/>
                    <a:pt x="0" y="1130331"/>
                    <a:pt x="0" y="1017895"/>
                  </a:cubicBezTo>
                  <a:lnTo>
                    <a:pt x="0" y="203584"/>
                  </a:lnTo>
                  <a:close/>
                </a:path>
              </a:pathLst>
            </a:custGeom>
            <a:solidFill>
              <a:srgbClr val="03597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208" tIns="128208" rIns="128208" bIns="128208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800" b="1" kern="1200" dirty="0"/>
                <a:t>Use Case:</a:t>
              </a:r>
              <a:r>
                <a:rPr lang="en-IN" sz="1800" kern="1200" dirty="0"/>
                <a:t> </a:t>
              </a:r>
              <a:r>
                <a:rPr lang="en-IN" sz="1800" kern="1200" dirty="0" err="1"/>
                <a:t>Analyzing</a:t>
              </a:r>
              <a:r>
                <a:rPr lang="en-IN" sz="1800" kern="1200" dirty="0"/>
                <a:t> relationships between multiple sets of factors for decision optimization. For</a:t>
              </a:r>
              <a:r>
                <a:rPr lang="en-IN" sz="1800" b="1" kern="1200" dirty="0"/>
                <a:t> </a:t>
              </a:r>
              <a:r>
                <a:rPr lang="en-IN" sz="1800" kern="1200" dirty="0"/>
                <a:t>example, comparing customer requirements against product features to identify development priorities.</a:t>
              </a:r>
              <a:endParaRPr lang="en-US" sz="18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8C8454D-482A-09E5-04D8-83B112FF53ED}"/>
                </a:ext>
              </a:extLst>
            </p:cNvPr>
            <p:cNvSpPr/>
            <p:nvPr/>
          </p:nvSpPr>
          <p:spPr>
            <a:xfrm>
              <a:off x="488949" y="2911056"/>
              <a:ext cx="5377014" cy="1221479"/>
            </a:xfrm>
            <a:custGeom>
              <a:avLst/>
              <a:gdLst>
                <a:gd name="connsiteX0" fmla="*/ 0 w 5377014"/>
                <a:gd name="connsiteY0" fmla="*/ 203584 h 1221479"/>
                <a:gd name="connsiteX1" fmla="*/ 203584 w 5377014"/>
                <a:gd name="connsiteY1" fmla="*/ 0 h 1221479"/>
                <a:gd name="connsiteX2" fmla="*/ 5173430 w 5377014"/>
                <a:gd name="connsiteY2" fmla="*/ 0 h 1221479"/>
                <a:gd name="connsiteX3" fmla="*/ 5377014 w 5377014"/>
                <a:gd name="connsiteY3" fmla="*/ 203584 h 1221479"/>
                <a:gd name="connsiteX4" fmla="*/ 5377014 w 5377014"/>
                <a:gd name="connsiteY4" fmla="*/ 1017895 h 1221479"/>
                <a:gd name="connsiteX5" fmla="*/ 5173430 w 5377014"/>
                <a:gd name="connsiteY5" fmla="*/ 1221479 h 1221479"/>
                <a:gd name="connsiteX6" fmla="*/ 203584 w 5377014"/>
                <a:gd name="connsiteY6" fmla="*/ 1221479 h 1221479"/>
                <a:gd name="connsiteX7" fmla="*/ 0 w 5377014"/>
                <a:gd name="connsiteY7" fmla="*/ 1017895 h 1221479"/>
                <a:gd name="connsiteX8" fmla="*/ 0 w 5377014"/>
                <a:gd name="connsiteY8" fmla="*/ 203584 h 122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7014" h="1221479">
                  <a:moveTo>
                    <a:pt x="0" y="203584"/>
                  </a:moveTo>
                  <a:cubicBezTo>
                    <a:pt x="0" y="91148"/>
                    <a:pt x="91148" y="0"/>
                    <a:pt x="203584" y="0"/>
                  </a:cubicBezTo>
                  <a:lnTo>
                    <a:pt x="5173430" y="0"/>
                  </a:lnTo>
                  <a:cubicBezTo>
                    <a:pt x="5285866" y="0"/>
                    <a:pt x="5377014" y="91148"/>
                    <a:pt x="5377014" y="203584"/>
                  </a:cubicBezTo>
                  <a:lnTo>
                    <a:pt x="5377014" y="1017895"/>
                  </a:lnTo>
                  <a:cubicBezTo>
                    <a:pt x="5377014" y="1130331"/>
                    <a:pt x="5285866" y="1221479"/>
                    <a:pt x="5173430" y="1221479"/>
                  </a:cubicBezTo>
                  <a:lnTo>
                    <a:pt x="203584" y="1221479"/>
                  </a:lnTo>
                  <a:cubicBezTo>
                    <a:pt x="91148" y="1221479"/>
                    <a:pt x="0" y="1130331"/>
                    <a:pt x="0" y="1017895"/>
                  </a:cubicBezTo>
                  <a:lnTo>
                    <a:pt x="0" y="203584"/>
                  </a:lnTo>
                  <a:close/>
                </a:path>
              </a:pathLst>
            </a:custGeom>
            <a:solidFill>
              <a:srgbClr val="BBCBD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208" tIns="128208" rIns="128208" bIns="128208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800" kern="1200"/>
                <a:t>Matrix diagrams systematically evaluate multi-dimensional relationships for optimal decision-making. By visualizing interaction strengths between factors, teams identify high-impact opportunities and avoid conflicting actions.</a:t>
              </a:r>
              <a:endParaRPr lang="en-US" sz="1800" kern="120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C7DB09C0-9957-80AC-4098-4A6D4A161C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4"/>
          <a:stretch/>
        </p:blipFill>
        <p:spPr>
          <a:xfrm>
            <a:off x="6587408" y="2406770"/>
            <a:ext cx="5134692" cy="224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592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346249"/>
          </a:xfrm>
        </p:spPr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Introduction to Problem Solvi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88949" y="1413933"/>
            <a:ext cx="11380998" cy="470746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200">
                <a:latin typeface="BMWTypeNext Cn Pro Hebrew Med" pitchFamily="50" charset="-79"/>
                <a:ea typeface="BMWTypeNext Cn Pro Hebrew Med" pitchFamily="50" charset="-79"/>
                <a:cs typeface="BMWTypeNext Cn Pro Hebrew Med" pitchFamily="50" charset="-79"/>
              </a:rPr>
              <a:t>What is a </a:t>
            </a:r>
            <a:r>
              <a:rPr lang="en-US" sz="2200" b="1">
                <a:latin typeface="BMWTypeNext Cn Pro Hebrew Med" pitchFamily="50" charset="-79"/>
                <a:ea typeface="BMWTypeNext Cn Pro Hebrew Med" pitchFamily="50" charset="-79"/>
                <a:cs typeface="BMWTypeNext Cn Pro Hebrew Med" pitchFamily="50" charset="-79"/>
              </a:rPr>
              <a:t>“Solution” </a:t>
            </a:r>
            <a:r>
              <a:rPr lang="en-US" sz="2200">
                <a:latin typeface="BMWTypeNext Cn Pro Hebrew Med" pitchFamily="50" charset="-79"/>
                <a:ea typeface="BMWTypeNext Cn Pro Hebrew Med" pitchFamily="50" charset="-79"/>
                <a:cs typeface="BMWTypeNext Cn Pro Hebrew Med" pitchFamily="50" charset="-79"/>
              </a:rPr>
              <a:t>?</a:t>
            </a:r>
            <a:endParaRPr lang="en-US" sz="2200"/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200"/>
              <a:t>A solution is a validated action plan that permanently eliminates the root cause of a problem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200"/>
              <a:t>Effective solutions are specific, measurable, implementable within constraints, and prevent recurrence rather than just treating symptom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53A5F7-CF00-C9CB-103B-629B38839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1972" y="3208132"/>
            <a:ext cx="8948056" cy="28183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4BECD8-B518-0D2F-0C3A-5EBA90940E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85AEE-2DAA-A07A-CDFC-512414C9D4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178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659CC-BF3E-FDD9-D8F5-0E9780665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347184"/>
            <a:ext cx="4134810" cy="437820"/>
          </a:xfrm>
        </p:spPr>
        <p:txBody>
          <a:bodyPr/>
          <a:lstStyle/>
          <a:p>
            <a:r>
              <a:rPr lang="en-US" dirty="0">
                <a:solidFill>
                  <a:srgbClr val="035970"/>
                </a:solidFill>
                <a:latin typeface="BMW Group Condensed Bold" panose="020B0806020202020204" pitchFamily="34" charset="0"/>
              </a:rPr>
              <a:t>MATRIX DIAGRAM(contd..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DAE3A4-D2A5-7D2F-7071-C8D19A42F9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0FC87E-661F-8322-F747-DDE184BAE6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82B9514-87D3-863C-4F34-599A14BDD95F}"/>
              </a:ext>
            </a:extLst>
          </p:cNvPr>
          <p:cNvGraphicFramePr/>
          <p:nvPr/>
        </p:nvGraphicFramePr>
        <p:xfrm>
          <a:off x="2577141" y="1948964"/>
          <a:ext cx="6103188" cy="36933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1F4EBABF-4631-76BC-137F-7B2D32744B4B}"/>
              </a:ext>
            </a:extLst>
          </p:cNvPr>
          <p:cNvSpPr txBox="1">
            <a:spLocks/>
          </p:cNvSpPr>
          <p:nvPr/>
        </p:nvSpPr>
        <p:spPr>
          <a:xfrm>
            <a:off x="477838" y="1087109"/>
            <a:ext cx="4134810" cy="4378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b="0" dirty="0">
                <a:solidFill>
                  <a:srgbClr val="035970"/>
                </a:solidFill>
                <a:latin typeface="BMW Group Condensed" panose="020B0606020202020204" pitchFamily="34" charset="0"/>
              </a:rPr>
              <a:t>Types of MATRIX DIAGRAM :</a:t>
            </a:r>
          </a:p>
        </p:txBody>
      </p:sp>
    </p:spTree>
    <p:extLst>
      <p:ext uri="{BB962C8B-B14F-4D97-AF65-F5344CB8AC3E}">
        <p14:creationId xmlns:p14="http://schemas.microsoft.com/office/powerpoint/2010/main" val="12457532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35970"/>
                </a:solidFill>
              </a:rPr>
              <a:t>Classic And New QC tools</a:t>
            </a:r>
            <a:br>
              <a:rPr lang="en-US">
                <a:solidFill>
                  <a:srgbClr val="035970"/>
                </a:solidFill>
              </a:rPr>
            </a:br>
            <a:r>
              <a:rPr lang="en-US">
                <a:solidFill>
                  <a:srgbClr val="035970"/>
                </a:solidFill>
              </a:rPr>
              <a:t>use in process identification &amp; analysi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53731" y="1631093"/>
            <a:ext cx="7348150" cy="4135394"/>
            <a:chOff x="2711001" y="1260389"/>
            <a:chExt cx="6498938" cy="3410163"/>
          </a:xfrm>
        </p:grpSpPr>
        <p:sp>
          <p:nvSpPr>
            <p:cNvPr id="7" name="Freeform 6"/>
            <p:cNvSpPr/>
            <p:nvPr/>
          </p:nvSpPr>
          <p:spPr>
            <a:xfrm>
              <a:off x="2711001" y="1692572"/>
              <a:ext cx="6498938" cy="2977980"/>
            </a:xfrm>
            <a:custGeom>
              <a:avLst/>
              <a:gdLst>
                <a:gd name="connsiteX0" fmla="*/ 4105845 w 6498938"/>
                <a:gd name="connsiteY0" fmla="*/ 0 h 2977980"/>
                <a:gd name="connsiteX1" fmla="*/ 6498938 w 6498938"/>
                <a:gd name="connsiteY1" fmla="*/ 1488990 h 2977980"/>
                <a:gd name="connsiteX2" fmla="*/ 4105845 w 6498938"/>
                <a:gd name="connsiteY2" fmla="*/ 2977980 h 2977980"/>
                <a:gd name="connsiteX3" fmla="*/ 3394213 w 6498938"/>
                <a:gd name="connsiteY3" fmla="*/ 2911038 h 2977980"/>
                <a:gd name="connsiteX4" fmla="*/ 3249469 w 6498938"/>
                <a:gd name="connsiteY4" fmla="*/ 2878076 h 2977980"/>
                <a:gd name="connsiteX5" fmla="*/ 3324593 w 6498938"/>
                <a:gd name="connsiteY5" fmla="*/ 2860968 h 2977980"/>
                <a:gd name="connsiteX6" fmla="*/ 4786186 w 6498938"/>
                <a:gd name="connsiteY6" fmla="*/ 1488990 h 2977980"/>
                <a:gd name="connsiteX7" fmla="*/ 3324593 w 6498938"/>
                <a:gd name="connsiteY7" fmla="*/ 117012 h 2977980"/>
                <a:gd name="connsiteX8" fmla="*/ 3249469 w 6498938"/>
                <a:gd name="connsiteY8" fmla="*/ 99904 h 2977980"/>
                <a:gd name="connsiteX9" fmla="*/ 3394213 w 6498938"/>
                <a:gd name="connsiteY9" fmla="*/ 66942 h 2977980"/>
                <a:gd name="connsiteX10" fmla="*/ 4105845 w 6498938"/>
                <a:gd name="connsiteY10" fmla="*/ 0 h 2977980"/>
                <a:gd name="connsiteX11" fmla="*/ 2393093 w 6498938"/>
                <a:gd name="connsiteY11" fmla="*/ 0 h 2977980"/>
                <a:gd name="connsiteX12" fmla="*/ 3104726 w 6498938"/>
                <a:gd name="connsiteY12" fmla="*/ 66942 h 2977980"/>
                <a:gd name="connsiteX13" fmla="*/ 3249469 w 6498938"/>
                <a:gd name="connsiteY13" fmla="*/ 99904 h 2977980"/>
                <a:gd name="connsiteX14" fmla="*/ 3174345 w 6498938"/>
                <a:gd name="connsiteY14" fmla="*/ 117012 h 2977980"/>
                <a:gd name="connsiteX15" fmla="*/ 1712752 w 6498938"/>
                <a:gd name="connsiteY15" fmla="*/ 1488990 h 2977980"/>
                <a:gd name="connsiteX16" fmla="*/ 3174345 w 6498938"/>
                <a:gd name="connsiteY16" fmla="*/ 2860968 h 2977980"/>
                <a:gd name="connsiteX17" fmla="*/ 3249469 w 6498938"/>
                <a:gd name="connsiteY17" fmla="*/ 2878076 h 2977980"/>
                <a:gd name="connsiteX18" fmla="*/ 3104726 w 6498938"/>
                <a:gd name="connsiteY18" fmla="*/ 2911038 h 2977980"/>
                <a:gd name="connsiteX19" fmla="*/ 2393093 w 6498938"/>
                <a:gd name="connsiteY19" fmla="*/ 2977980 h 2977980"/>
                <a:gd name="connsiteX20" fmla="*/ 0 w 6498938"/>
                <a:gd name="connsiteY20" fmla="*/ 1488990 h 2977980"/>
                <a:gd name="connsiteX21" fmla="*/ 2393093 w 6498938"/>
                <a:gd name="connsiteY21" fmla="*/ 0 h 297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498938" h="2977980">
                  <a:moveTo>
                    <a:pt x="4105845" y="0"/>
                  </a:moveTo>
                  <a:cubicBezTo>
                    <a:pt x="5427514" y="0"/>
                    <a:pt x="6498938" y="666644"/>
                    <a:pt x="6498938" y="1488990"/>
                  </a:cubicBezTo>
                  <a:cubicBezTo>
                    <a:pt x="6498938" y="2311336"/>
                    <a:pt x="5427514" y="2977980"/>
                    <a:pt x="4105845" y="2977980"/>
                  </a:cubicBezTo>
                  <a:cubicBezTo>
                    <a:pt x="3858032" y="2977980"/>
                    <a:pt x="3619017" y="2954544"/>
                    <a:pt x="3394213" y="2911038"/>
                  </a:cubicBezTo>
                  <a:lnTo>
                    <a:pt x="3249469" y="2878076"/>
                  </a:lnTo>
                  <a:lnTo>
                    <a:pt x="3324593" y="2860968"/>
                  </a:lnTo>
                  <a:cubicBezTo>
                    <a:pt x="4183510" y="2634927"/>
                    <a:pt x="4786186" y="2105750"/>
                    <a:pt x="4786186" y="1488990"/>
                  </a:cubicBezTo>
                  <a:cubicBezTo>
                    <a:pt x="4786186" y="872231"/>
                    <a:pt x="4183510" y="343053"/>
                    <a:pt x="3324593" y="117012"/>
                  </a:cubicBezTo>
                  <a:lnTo>
                    <a:pt x="3249469" y="99904"/>
                  </a:lnTo>
                  <a:lnTo>
                    <a:pt x="3394213" y="66942"/>
                  </a:lnTo>
                  <a:cubicBezTo>
                    <a:pt x="3619017" y="23437"/>
                    <a:pt x="3858032" y="0"/>
                    <a:pt x="4105845" y="0"/>
                  </a:cubicBezTo>
                  <a:close/>
                  <a:moveTo>
                    <a:pt x="2393093" y="0"/>
                  </a:moveTo>
                  <a:cubicBezTo>
                    <a:pt x="2640906" y="0"/>
                    <a:pt x="2879921" y="23437"/>
                    <a:pt x="3104726" y="66942"/>
                  </a:cubicBezTo>
                  <a:lnTo>
                    <a:pt x="3249469" y="99904"/>
                  </a:lnTo>
                  <a:lnTo>
                    <a:pt x="3174345" y="117012"/>
                  </a:lnTo>
                  <a:cubicBezTo>
                    <a:pt x="2315428" y="343053"/>
                    <a:pt x="1712752" y="872231"/>
                    <a:pt x="1712752" y="1488990"/>
                  </a:cubicBezTo>
                  <a:cubicBezTo>
                    <a:pt x="1712752" y="2105750"/>
                    <a:pt x="2315428" y="2634927"/>
                    <a:pt x="3174345" y="2860968"/>
                  </a:cubicBezTo>
                  <a:lnTo>
                    <a:pt x="3249469" y="2878076"/>
                  </a:lnTo>
                  <a:lnTo>
                    <a:pt x="3104726" y="2911038"/>
                  </a:lnTo>
                  <a:cubicBezTo>
                    <a:pt x="2879921" y="2954544"/>
                    <a:pt x="2640906" y="2977980"/>
                    <a:pt x="2393093" y="2977980"/>
                  </a:cubicBezTo>
                  <a:cubicBezTo>
                    <a:pt x="1071424" y="2977980"/>
                    <a:pt x="0" y="2311336"/>
                    <a:pt x="0" y="1488990"/>
                  </a:cubicBezTo>
                  <a:cubicBezTo>
                    <a:pt x="0" y="666644"/>
                    <a:pt x="1071424" y="0"/>
                    <a:pt x="2393093" y="0"/>
                  </a:cubicBezTo>
                  <a:close/>
                </a:path>
              </a:pathLst>
            </a:custGeom>
            <a:solidFill>
              <a:srgbClr val="CCCCCC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196254" y="2639425"/>
              <a:ext cx="1528431" cy="3693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txBody>
            <a:bodyPr vert="horz"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Pareto Diagram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09796" y="1260389"/>
              <a:ext cx="1289015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Identification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7730531" y="1260389"/>
              <a:ext cx="872198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Analysi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801918" y="3145484"/>
              <a:ext cx="2495748" cy="3693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txBody>
            <a:bodyPr vert="horz"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Cause and Effects diagram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150514" y="2508560"/>
              <a:ext cx="1132514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Flow chart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085723" y="3384519"/>
              <a:ext cx="1262095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Check shee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306644" y="2139228"/>
              <a:ext cx="1107347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Histogram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73546" y="2776152"/>
              <a:ext cx="1308682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Control chart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525377" y="3468885"/>
              <a:ext cx="1215951" cy="30456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 Group Condensed" panose="020B0606020202020204" pitchFamily="34" charset="0"/>
                  <a:ea typeface="+mn-ea"/>
                  <a:cs typeface="+mn-cs"/>
                </a:rPr>
                <a:t>Scatter plot</a:t>
              </a: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D25801-551C-6E25-09C8-590C0CD50D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57717F-2F86-FAE3-EAC7-526136203B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9383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9CE05B8-9F89-0D48-61E9-7FD5D417EC21}"/>
              </a:ext>
            </a:extLst>
          </p:cNvPr>
          <p:cNvSpPr txBox="1"/>
          <p:nvPr/>
        </p:nvSpPr>
        <p:spPr>
          <a:xfrm>
            <a:off x="4989250" y="1126482"/>
            <a:ext cx="6735580" cy="407387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4800">
                <a:solidFill>
                  <a:srgbClr val="000000"/>
                </a:solidFill>
                <a:latin typeface="BMW Group Condensed" panose="020B0606020202020204" pitchFamily="34" charset="0"/>
              </a:rPr>
              <a:t>“</a:t>
            </a:r>
            <a:r>
              <a:rPr lang="en-US" sz="4800" b="1">
                <a:solidFill>
                  <a:srgbClr val="000000"/>
                </a:solidFill>
                <a:latin typeface="BMW Group Condensed" panose="020B0606020202020204" pitchFamily="34" charset="0"/>
              </a:rPr>
              <a:t>Problem Solving”</a:t>
            </a:r>
          </a:p>
          <a:p>
            <a:pPr marL="342900" indent="-342900" algn="l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</a:pPr>
            <a:r>
              <a:rPr lang="en-US" sz="2000"/>
              <a:t> </a:t>
            </a:r>
            <a:r>
              <a:rPr lang="en-US" sz="2000">
                <a:latin typeface="+mj-lt"/>
              </a:rPr>
              <a:t>A systematic, data-driven process for identifying, analyzing, and resolving issues to close the gap between current and desired performance</a:t>
            </a:r>
            <a:r>
              <a:rPr lang="en-US" sz="2000" b="0" i="0">
                <a:solidFill>
                  <a:srgbClr val="0A0A0A"/>
                </a:solidFill>
                <a:effectLst/>
                <a:latin typeface="+mj-lt"/>
              </a:rPr>
              <a:t>. </a:t>
            </a:r>
          </a:p>
          <a:p>
            <a:pPr marL="342900" indent="-342900" algn="l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</a:pPr>
            <a:r>
              <a:rPr lang="en-US" sz="2000" b="0" i="0">
                <a:solidFill>
                  <a:srgbClr val="0A0A0A"/>
                </a:solidFill>
                <a:effectLst/>
                <a:latin typeface="+mj-lt"/>
              </a:rPr>
              <a:t>This is </a:t>
            </a:r>
            <a:r>
              <a:rPr lang="en-US" sz="2000">
                <a:solidFill>
                  <a:srgbClr val="0A0A0A"/>
                </a:solidFill>
                <a:latin typeface="+mj-lt"/>
              </a:rPr>
              <a:t>done </a:t>
            </a:r>
            <a:r>
              <a:rPr lang="en-US" sz="2000" b="0" i="0">
                <a:solidFill>
                  <a:srgbClr val="0A0A0A"/>
                </a:solidFill>
                <a:effectLst/>
                <a:latin typeface="+mj-lt"/>
              </a:rPr>
              <a:t>to employ structured methodologies, ensuring long-term, sustainable improvements that support operational and strategic goals. </a:t>
            </a:r>
            <a:endParaRPr lang="en-US" i="0" u="none" baseline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4319B4-9A67-A61A-54C4-65D0B057B83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935"/>
          <a:stretch/>
        </p:blipFill>
        <p:spPr>
          <a:xfrm>
            <a:off x="102244" y="940664"/>
            <a:ext cx="4841288" cy="463932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B3101C-DC39-A6D2-2693-895C7D2468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BBA6AF-99A0-C0B9-3B1D-57A9C20E65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5873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B8FBB58-1A60-D628-680F-71870D1D28E5}"/>
              </a:ext>
            </a:extLst>
          </p:cNvPr>
          <p:cNvCxnSpPr>
            <a:cxnSpLocks/>
            <a:stCxn id="4" idx="2"/>
            <a:endCxn id="10" idx="0"/>
          </p:cNvCxnSpPr>
          <p:nvPr/>
        </p:nvCxnSpPr>
        <p:spPr>
          <a:xfrm>
            <a:off x="6044293" y="1740458"/>
            <a:ext cx="4518745" cy="111488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0437DB-7398-A0BB-E36B-232790967B7F}"/>
              </a:ext>
            </a:extLst>
          </p:cNvPr>
          <p:cNvCxnSpPr>
            <a:cxnSpLocks/>
            <a:stCxn id="4" idx="2"/>
            <a:endCxn id="12" idx="0"/>
          </p:cNvCxnSpPr>
          <p:nvPr/>
        </p:nvCxnSpPr>
        <p:spPr>
          <a:xfrm flipH="1">
            <a:off x="1627626" y="1740458"/>
            <a:ext cx="4416667" cy="111488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EE8AD1-0E29-0B51-AEBF-D5FF76ADA43D}"/>
              </a:ext>
            </a:extLst>
          </p:cNvPr>
          <p:cNvCxnSpPr>
            <a:cxnSpLocks/>
            <a:stCxn id="4" idx="2"/>
            <a:endCxn id="13" idx="0"/>
          </p:cNvCxnSpPr>
          <p:nvPr/>
        </p:nvCxnSpPr>
        <p:spPr>
          <a:xfrm>
            <a:off x="6044293" y="1740458"/>
            <a:ext cx="54633" cy="111488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14E2B20-37E0-58F8-447B-2C83806F04F5}"/>
              </a:ext>
            </a:extLst>
          </p:cNvPr>
          <p:cNvSpPr/>
          <p:nvPr/>
        </p:nvSpPr>
        <p:spPr>
          <a:xfrm>
            <a:off x="4981805" y="2855344"/>
            <a:ext cx="2234241" cy="21911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28575">
            <a:solidFill>
              <a:schemeClr val="tx2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F040576-39EB-EDAB-A465-7208F8462375}"/>
              </a:ext>
            </a:extLst>
          </p:cNvPr>
          <p:cNvSpPr/>
          <p:nvPr/>
        </p:nvSpPr>
        <p:spPr>
          <a:xfrm>
            <a:off x="510505" y="2855343"/>
            <a:ext cx="2234241" cy="21911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28575">
            <a:solidFill>
              <a:schemeClr val="tx2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639BB70-A52D-5D0F-2EC5-122E620485A7}"/>
              </a:ext>
            </a:extLst>
          </p:cNvPr>
          <p:cNvSpPr/>
          <p:nvPr/>
        </p:nvSpPr>
        <p:spPr>
          <a:xfrm>
            <a:off x="9445917" y="2855344"/>
            <a:ext cx="2234241" cy="2191111"/>
          </a:xfrm>
          <a:prstGeom prst="round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28575">
            <a:solidFill>
              <a:schemeClr val="tx2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D5F45D-720E-2598-4302-83DA6C7F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Problem Solving Framewor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5D7D7D-711E-C765-EEE1-F26B7AEE1B49}"/>
              </a:ext>
            </a:extLst>
          </p:cNvPr>
          <p:cNvSpPr txBox="1"/>
          <p:nvPr/>
        </p:nvSpPr>
        <p:spPr>
          <a:xfrm>
            <a:off x="5060881" y="1463459"/>
            <a:ext cx="1966823" cy="27699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blem Solving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EB2307-19B3-F127-A0F8-65F14D925A33}"/>
              </a:ext>
            </a:extLst>
          </p:cNvPr>
          <p:cNvSpPr txBox="1"/>
          <p:nvPr/>
        </p:nvSpPr>
        <p:spPr>
          <a:xfrm>
            <a:off x="9586815" y="3014769"/>
            <a:ext cx="1966823" cy="276999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ventive A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4843C6-6225-92F7-C78E-D4885C7E8B40}"/>
              </a:ext>
            </a:extLst>
          </p:cNvPr>
          <p:cNvSpPr txBox="1"/>
          <p:nvPr/>
        </p:nvSpPr>
        <p:spPr>
          <a:xfrm>
            <a:off x="5115515" y="3014769"/>
            <a:ext cx="1966823" cy="276999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ctive Action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3CB8B7-0998-07DE-9CD9-FAD540EFA135}"/>
              </a:ext>
            </a:extLst>
          </p:cNvPr>
          <p:cNvSpPr txBox="1"/>
          <p:nvPr/>
        </p:nvSpPr>
        <p:spPr>
          <a:xfrm>
            <a:off x="539439" y="3036500"/>
            <a:ext cx="2194560" cy="553998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mediate Containment Action (ICA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3C3DE6-0AF1-EBCC-7E89-D9BABF86755C}"/>
              </a:ext>
            </a:extLst>
          </p:cNvPr>
          <p:cNvSpPr txBox="1"/>
          <p:nvPr/>
        </p:nvSpPr>
        <p:spPr>
          <a:xfrm>
            <a:off x="644215" y="3771655"/>
            <a:ext cx="1966823" cy="9036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2400"/>
              </a:lnSpc>
            </a:pPr>
            <a:r>
              <a:rPr lang="en-US" sz="1800">
                <a:solidFill>
                  <a:schemeClr val="bg1"/>
                </a:solidFill>
                <a:ea typeface="Montserrat" pitchFamily="34" charset="-122"/>
                <a:cs typeface="Montserrat" pitchFamily="34" charset="-120"/>
              </a:rPr>
              <a:t>Quick containment actions to prevent further damage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E837CA-D21C-DDBF-350C-0854C28A57E8}"/>
              </a:ext>
            </a:extLst>
          </p:cNvPr>
          <p:cNvSpPr txBox="1"/>
          <p:nvPr/>
        </p:nvSpPr>
        <p:spPr>
          <a:xfrm>
            <a:off x="9579625" y="3595486"/>
            <a:ext cx="1966823" cy="9036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lnSpc>
                <a:spcPts val="2400"/>
              </a:lnSpc>
              <a:buNone/>
            </a:pPr>
            <a:r>
              <a:rPr lang="en-US" sz="1800">
                <a:solidFill>
                  <a:schemeClr val="bg1"/>
                </a:solidFill>
                <a:ea typeface="Montserrat" pitchFamily="34" charset="-122"/>
                <a:cs typeface="Montserrat" pitchFamily="34" charset="-120"/>
              </a:rPr>
              <a:t>Eliminate recurrence possibilities through system changes.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99C880-2C6B-3AD8-1F06-E8219AF2204F}"/>
              </a:ext>
            </a:extLst>
          </p:cNvPr>
          <p:cNvSpPr txBox="1"/>
          <p:nvPr/>
        </p:nvSpPr>
        <p:spPr>
          <a:xfrm>
            <a:off x="5191053" y="3590498"/>
            <a:ext cx="1966823" cy="9036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lnSpc>
                <a:spcPts val="2400"/>
              </a:lnSpc>
              <a:buNone/>
            </a:pPr>
            <a:r>
              <a:rPr lang="en-US" sz="1800">
                <a:solidFill>
                  <a:schemeClr val="bg1"/>
                </a:solidFill>
                <a:ea typeface="Montserrat" pitchFamily="34" charset="-122"/>
                <a:cs typeface="Montserrat" pitchFamily="34" charset="-120"/>
              </a:rPr>
              <a:t>Fix current issue and restore normal operations.</a:t>
            </a:r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1707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346249"/>
          </a:xfrm>
        </p:spPr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Problem Solving Methodolog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DBBECA3-8C7A-CC96-900F-C12B811566B0}"/>
              </a:ext>
            </a:extLst>
          </p:cNvPr>
          <p:cNvGrpSpPr/>
          <p:nvPr/>
        </p:nvGrpSpPr>
        <p:grpSpPr>
          <a:xfrm>
            <a:off x="993039" y="1412874"/>
            <a:ext cx="8027136" cy="4711702"/>
            <a:chOff x="993039" y="1356382"/>
            <a:chExt cx="7857663" cy="460674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0D964F4-2CCC-EDA2-2943-C55AA154ACE4}"/>
                </a:ext>
              </a:extLst>
            </p:cNvPr>
            <p:cNvGrpSpPr/>
            <p:nvPr/>
          </p:nvGrpSpPr>
          <p:grpSpPr>
            <a:xfrm>
              <a:off x="993040" y="1356382"/>
              <a:ext cx="4217317" cy="967427"/>
              <a:chOff x="2703581" y="1356382"/>
              <a:chExt cx="3870237" cy="923015"/>
            </a:xfrm>
          </p:grpSpPr>
          <p:sp>
            <p:nvSpPr>
              <p:cNvPr id="8" name="Freeform 7"/>
              <p:cNvSpPr/>
              <p:nvPr/>
            </p:nvSpPr>
            <p:spPr>
              <a:xfrm>
                <a:off x="3185182" y="1356382"/>
                <a:ext cx="3388636" cy="923015"/>
              </a:xfrm>
              <a:custGeom>
                <a:avLst/>
                <a:gdLst>
                  <a:gd name="connsiteX0" fmla="*/ 0 w 3332548"/>
                  <a:gd name="connsiteY0" fmla="*/ 0 h 923013"/>
                  <a:gd name="connsiteX1" fmla="*/ 2871042 w 3332548"/>
                  <a:gd name="connsiteY1" fmla="*/ 0 h 923013"/>
                  <a:gd name="connsiteX2" fmla="*/ 3332548 w 3332548"/>
                  <a:gd name="connsiteY2" fmla="*/ 461507 h 923013"/>
                  <a:gd name="connsiteX3" fmla="*/ 2871042 w 3332548"/>
                  <a:gd name="connsiteY3" fmla="*/ 923013 h 923013"/>
                  <a:gd name="connsiteX4" fmla="*/ 0 w 3332548"/>
                  <a:gd name="connsiteY4" fmla="*/ 923013 h 923013"/>
                  <a:gd name="connsiteX5" fmla="*/ 0 w 3332548"/>
                  <a:gd name="connsiteY5" fmla="*/ 0 h 92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32548" h="923013">
                    <a:moveTo>
                      <a:pt x="3332548" y="923012"/>
                    </a:moveTo>
                    <a:lnTo>
                      <a:pt x="461506" y="923012"/>
                    </a:lnTo>
                    <a:lnTo>
                      <a:pt x="0" y="461506"/>
                    </a:lnTo>
                    <a:lnTo>
                      <a:pt x="461506" y="1"/>
                    </a:lnTo>
                    <a:lnTo>
                      <a:pt x="3332548" y="1"/>
                    </a:lnTo>
                    <a:lnTo>
                      <a:pt x="3332548" y="92301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37776" tIns="167641" rIns="312928" bIns="167641" numCol="1" spcCol="1270" anchor="ctr" anchorCtr="0">
                <a:noAutofit/>
              </a:bodyPr>
              <a:lstStyle/>
              <a:p>
                <a:pPr lvl="0"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/>
                  <a:t>Problem Mgt. Tools</a:t>
                </a:r>
                <a:r>
                  <a:rPr lang="en-US" sz="2800" kern="1200"/>
                  <a:t> </a:t>
                </a: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703581" y="1356384"/>
                <a:ext cx="872659" cy="923013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2987974" y="1609605"/>
                <a:ext cx="314510" cy="400110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000" b="0" i="0" u="none" baseline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1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60F2691-61ED-AA01-B064-DC3DDF4D1C19}"/>
                </a:ext>
              </a:extLst>
            </p:cNvPr>
            <p:cNvGrpSpPr/>
            <p:nvPr/>
          </p:nvGrpSpPr>
          <p:grpSpPr>
            <a:xfrm>
              <a:off x="993042" y="2577128"/>
              <a:ext cx="5485396" cy="967425"/>
              <a:chOff x="2693137" y="2554923"/>
              <a:chExt cx="4285621" cy="923014"/>
            </a:xfrm>
          </p:grpSpPr>
          <p:sp>
            <p:nvSpPr>
              <p:cNvPr id="10" name="Freeform 9"/>
              <p:cNvSpPr/>
              <p:nvPr/>
            </p:nvSpPr>
            <p:spPr>
              <a:xfrm>
                <a:off x="3059275" y="2554923"/>
                <a:ext cx="3919483" cy="923014"/>
              </a:xfrm>
              <a:custGeom>
                <a:avLst/>
                <a:gdLst>
                  <a:gd name="connsiteX0" fmla="*/ 0 w 3332548"/>
                  <a:gd name="connsiteY0" fmla="*/ 0 h 923013"/>
                  <a:gd name="connsiteX1" fmla="*/ 2871042 w 3332548"/>
                  <a:gd name="connsiteY1" fmla="*/ 0 h 923013"/>
                  <a:gd name="connsiteX2" fmla="*/ 3332548 w 3332548"/>
                  <a:gd name="connsiteY2" fmla="*/ 461507 h 923013"/>
                  <a:gd name="connsiteX3" fmla="*/ 2871042 w 3332548"/>
                  <a:gd name="connsiteY3" fmla="*/ 923013 h 923013"/>
                  <a:gd name="connsiteX4" fmla="*/ 0 w 3332548"/>
                  <a:gd name="connsiteY4" fmla="*/ 923013 h 923013"/>
                  <a:gd name="connsiteX5" fmla="*/ 0 w 3332548"/>
                  <a:gd name="connsiteY5" fmla="*/ 0 h 92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32548" h="923013">
                    <a:moveTo>
                      <a:pt x="3332548" y="923012"/>
                    </a:moveTo>
                    <a:lnTo>
                      <a:pt x="461506" y="923012"/>
                    </a:lnTo>
                    <a:lnTo>
                      <a:pt x="0" y="461506"/>
                    </a:lnTo>
                    <a:lnTo>
                      <a:pt x="461506" y="1"/>
                    </a:lnTo>
                    <a:lnTo>
                      <a:pt x="3332548" y="1"/>
                    </a:lnTo>
                    <a:lnTo>
                      <a:pt x="3332548" y="92301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37776" tIns="167641" rIns="312928" bIns="167640" numCol="1" spcCol="1270" anchor="ctr" anchorCtr="0">
                <a:noAutofit/>
              </a:bodyPr>
              <a:lstStyle/>
              <a:p>
                <a:pPr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/>
                  <a:t>Classic QC Tools</a:t>
                </a: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2693137" y="2554924"/>
                <a:ext cx="786518" cy="923013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960566" y="2831764"/>
                <a:ext cx="301686" cy="369332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0" i="0" u="none" baseline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2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FC5CEC5-565A-4799-67B8-EE2A649FC1E7}"/>
                </a:ext>
              </a:extLst>
            </p:cNvPr>
            <p:cNvGrpSpPr/>
            <p:nvPr/>
          </p:nvGrpSpPr>
          <p:grpSpPr>
            <a:xfrm>
              <a:off x="993039" y="3797874"/>
              <a:ext cx="6598205" cy="955963"/>
              <a:chOff x="2684647" y="3753464"/>
              <a:chExt cx="4926758" cy="955964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2858035" y="3786414"/>
                <a:ext cx="4753370" cy="923014"/>
              </a:xfrm>
              <a:custGeom>
                <a:avLst/>
                <a:gdLst>
                  <a:gd name="connsiteX0" fmla="*/ 0 w 3332548"/>
                  <a:gd name="connsiteY0" fmla="*/ 0 h 923013"/>
                  <a:gd name="connsiteX1" fmla="*/ 2871042 w 3332548"/>
                  <a:gd name="connsiteY1" fmla="*/ 0 h 923013"/>
                  <a:gd name="connsiteX2" fmla="*/ 3332548 w 3332548"/>
                  <a:gd name="connsiteY2" fmla="*/ 461507 h 923013"/>
                  <a:gd name="connsiteX3" fmla="*/ 2871042 w 3332548"/>
                  <a:gd name="connsiteY3" fmla="*/ 923013 h 923013"/>
                  <a:gd name="connsiteX4" fmla="*/ 0 w 3332548"/>
                  <a:gd name="connsiteY4" fmla="*/ 923013 h 923013"/>
                  <a:gd name="connsiteX5" fmla="*/ 0 w 3332548"/>
                  <a:gd name="connsiteY5" fmla="*/ 0 h 92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32548" h="923013">
                    <a:moveTo>
                      <a:pt x="3332548" y="923012"/>
                    </a:moveTo>
                    <a:lnTo>
                      <a:pt x="461506" y="923012"/>
                    </a:lnTo>
                    <a:lnTo>
                      <a:pt x="0" y="461506"/>
                    </a:lnTo>
                    <a:lnTo>
                      <a:pt x="461506" y="1"/>
                    </a:lnTo>
                    <a:lnTo>
                      <a:pt x="3332548" y="1"/>
                    </a:lnTo>
                    <a:lnTo>
                      <a:pt x="3332548" y="92301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37776" tIns="167641" rIns="312928" bIns="167640" numCol="1" spcCol="1270" anchor="ctr" anchorCtr="0">
                <a:noAutofit/>
              </a:bodyPr>
              <a:lstStyle/>
              <a:p>
                <a:pPr lvl="0"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/>
                  <a:t>New QC Tools</a:t>
                </a: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2684647" y="3753464"/>
                <a:ext cx="690442" cy="923013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2914844" y="4030304"/>
                <a:ext cx="301686" cy="369332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0" i="0" u="none" baseline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3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3A90EBF-B585-A772-09C2-B11C2373594D}"/>
                </a:ext>
              </a:extLst>
            </p:cNvPr>
            <p:cNvGrpSpPr/>
            <p:nvPr/>
          </p:nvGrpSpPr>
          <p:grpSpPr>
            <a:xfrm>
              <a:off x="993040" y="5040108"/>
              <a:ext cx="7857662" cy="923014"/>
              <a:chOff x="2597769" y="4980423"/>
              <a:chExt cx="7970856" cy="923014"/>
            </a:xfrm>
          </p:grpSpPr>
          <p:sp>
            <p:nvSpPr>
              <p:cNvPr id="25" name="Freeform 24"/>
              <p:cNvSpPr/>
              <p:nvPr/>
            </p:nvSpPr>
            <p:spPr>
              <a:xfrm>
                <a:off x="2597769" y="4980423"/>
                <a:ext cx="7970856" cy="923014"/>
              </a:xfrm>
              <a:custGeom>
                <a:avLst/>
                <a:gdLst>
                  <a:gd name="connsiteX0" fmla="*/ 0 w 3332548"/>
                  <a:gd name="connsiteY0" fmla="*/ 0 h 923013"/>
                  <a:gd name="connsiteX1" fmla="*/ 2871042 w 3332548"/>
                  <a:gd name="connsiteY1" fmla="*/ 0 h 923013"/>
                  <a:gd name="connsiteX2" fmla="*/ 3332548 w 3332548"/>
                  <a:gd name="connsiteY2" fmla="*/ 461507 h 923013"/>
                  <a:gd name="connsiteX3" fmla="*/ 2871042 w 3332548"/>
                  <a:gd name="connsiteY3" fmla="*/ 923013 h 923013"/>
                  <a:gd name="connsiteX4" fmla="*/ 0 w 3332548"/>
                  <a:gd name="connsiteY4" fmla="*/ 923013 h 923013"/>
                  <a:gd name="connsiteX5" fmla="*/ 0 w 3332548"/>
                  <a:gd name="connsiteY5" fmla="*/ 0 h 923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32548" h="923013">
                    <a:moveTo>
                      <a:pt x="3332548" y="923012"/>
                    </a:moveTo>
                    <a:lnTo>
                      <a:pt x="461506" y="923012"/>
                    </a:lnTo>
                    <a:lnTo>
                      <a:pt x="0" y="461506"/>
                    </a:lnTo>
                    <a:lnTo>
                      <a:pt x="461506" y="1"/>
                    </a:lnTo>
                    <a:lnTo>
                      <a:pt x="3332548" y="1"/>
                    </a:lnTo>
                    <a:lnTo>
                      <a:pt x="3332548" y="92301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37776" tIns="167641" rIns="312928" bIns="167640" numCol="1" spcCol="1270" anchor="ctr" anchorCtr="0">
                <a:noAutofit/>
              </a:bodyPr>
              <a:lstStyle/>
              <a:p>
                <a:pPr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/>
                  <a:t>BMW Specific Methodologies</a:t>
                </a:r>
              </a:p>
            </p:txBody>
          </p:sp>
          <p:sp>
            <p:nvSpPr>
              <p:cNvPr id="26" name="Oval 25"/>
              <p:cNvSpPr/>
              <p:nvPr/>
            </p:nvSpPr>
            <p:spPr>
              <a:xfrm>
                <a:off x="2597769" y="4980424"/>
                <a:ext cx="851272" cy="923013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911360" y="5257264"/>
                <a:ext cx="278238" cy="369332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0" i="0" u="none" baseline="0">
                    <a:solidFill>
                      <a:srgbClr val="000000"/>
                    </a:solidFill>
                    <a:latin typeface="BMW Group Condensed" panose="020B0606020202020204" pitchFamily="34" charset="0"/>
                  </a:rPr>
                  <a:t>4</a:t>
                </a:r>
              </a:p>
            </p:txBody>
          </p:sp>
        </p:grpSp>
      </p:grp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2D0D5-FD80-95AA-FC3C-EBB7B6A50D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52AEE9B-0D52-49A9-E7C6-256AACEE37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507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63F031A-8269-F302-983D-504735A852C6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733953233"/>
              </p:ext>
            </p:extLst>
          </p:nvPr>
        </p:nvGraphicFramePr>
        <p:xfrm>
          <a:off x="477838" y="1412875"/>
          <a:ext cx="10645777" cy="11197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BD32C816-3D66-5F4A-219D-713CAC0E1F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8427884"/>
              </p:ext>
            </p:extLst>
          </p:nvPr>
        </p:nvGraphicFramePr>
        <p:xfrm>
          <a:off x="1985104" y="2829996"/>
          <a:ext cx="7198519" cy="3294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6" name="Title 1">
            <a:extLst>
              <a:ext uri="{FF2B5EF4-FFF2-40B4-BE49-F238E27FC236}">
                <a16:creationId xmlns:a16="http://schemas.microsoft.com/office/drawing/2014/main" id="{E7D8557D-BF7B-2E02-50FA-49B6F85AE9F7}"/>
              </a:ext>
            </a:extLst>
          </p:cNvPr>
          <p:cNvSpPr txBox="1">
            <a:spLocks/>
          </p:cNvSpPr>
          <p:nvPr/>
        </p:nvSpPr>
        <p:spPr>
          <a:xfrm>
            <a:off x="497415" y="342900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>
                <a:solidFill>
                  <a:srgbClr val="92A2BD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rgbClr val="035970"/>
                </a:solidFill>
              </a:rPr>
              <a:t>MODELS OF PROBLEM SOLV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334664-9899-5923-9265-F130DC1455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C16DD9-BD4D-B881-3E04-01E3E242BD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050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040408-3178-87A1-1621-67679F1B2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5 WHY ANALYSI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51C5E37-F9A5-EAA2-D630-B06E41BDE1A8}"/>
              </a:ext>
            </a:extLst>
          </p:cNvPr>
          <p:cNvGrpSpPr/>
          <p:nvPr/>
        </p:nvGrpSpPr>
        <p:grpSpPr>
          <a:xfrm>
            <a:off x="479425" y="1412875"/>
            <a:ext cx="11233150" cy="4895850"/>
            <a:chOff x="488947" y="848499"/>
            <a:chExt cx="11303362" cy="5403771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9626C2-5C3C-9632-2BAC-A7F9C4DF1F54}"/>
                </a:ext>
              </a:extLst>
            </p:cNvPr>
            <p:cNvGrpSpPr/>
            <p:nvPr/>
          </p:nvGrpSpPr>
          <p:grpSpPr>
            <a:xfrm>
              <a:off x="488947" y="1537360"/>
              <a:ext cx="11303362" cy="4714910"/>
              <a:chOff x="414069" y="1537360"/>
              <a:chExt cx="10628118" cy="4714910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E363FF1-958F-89BC-B503-1E6F547765E7}"/>
                  </a:ext>
                </a:extLst>
              </p:cNvPr>
              <p:cNvSpPr/>
              <p:nvPr/>
            </p:nvSpPr>
            <p:spPr>
              <a:xfrm>
                <a:off x="414069" y="1537360"/>
                <a:ext cx="3094984" cy="1359360"/>
              </a:xfrm>
              <a:custGeom>
                <a:avLst/>
                <a:gdLst>
                  <a:gd name="connsiteX0" fmla="*/ 0 w 3359732"/>
                  <a:gd name="connsiteY0" fmla="*/ 135936 h 1359360"/>
                  <a:gd name="connsiteX1" fmla="*/ 135936 w 3359732"/>
                  <a:gd name="connsiteY1" fmla="*/ 0 h 1359360"/>
                  <a:gd name="connsiteX2" fmla="*/ 3223796 w 3359732"/>
                  <a:gd name="connsiteY2" fmla="*/ 0 h 1359360"/>
                  <a:gd name="connsiteX3" fmla="*/ 3359732 w 3359732"/>
                  <a:gd name="connsiteY3" fmla="*/ 135936 h 1359360"/>
                  <a:gd name="connsiteX4" fmla="*/ 3359732 w 3359732"/>
                  <a:gd name="connsiteY4" fmla="*/ 1223424 h 1359360"/>
                  <a:gd name="connsiteX5" fmla="*/ 3223796 w 3359732"/>
                  <a:gd name="connsiteY5" fmla="*/ 1359360 h 1359360"/>
                  <a:gd name="connsiteX6" fmla="*/ 135936 w 3359732"/>
                  <a:gd name="connsiteY6" fmla="*/ 1359360 h 1359360"/>
                  <a:gd name="connsiteX7" fmla="*/ 0 w 3359732"/>
                  <a:gd name="connsiteY7" fmla="*/ 1223424 h 1359360"/>
                  <a:gd name="connsiteX8" fmla="*/ 0 w 3359732"/>
                  <a:gd name="connsiteY8" fmla="*/ 135936 h 135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59732" h="1359360">
                    <a:moveTo>
                      <a:pt x="0" y="135936"/>
                    </a:moveTo>
                    <a:cubicBezTo>
                      <a:pt x="0" y="60861"/>
                      <a:pt x="60861" y="0"/>
                      <a:pt x="135936" y="0"/>
                    </a:cubicBezTo>
                    <a:lnTo>
                      <a:pt x="3223796" y="0"/>
                    </a:lnTo>
                    <a:cubicBezTo>
                      <a:pt x="3298871" y="0"/>
                      <a:pt x="3359732" y="60861"/>
                      <a:pt x="3359732" y="135936"/>
                    </a:cubicBezTo>
                    <a:lnTo>
                      <a:pt x="3359732" y="1223424"/>
                    </a:lnTo>
                    <a:cubicBezTo>
                      <a:pt x="3359732" y="1298499"/>
                      <a:pt x="3298871" y="1359360"/>
                      <a:pt x="3223796" y="1359360"/>
                    </a:cubicBezTo>
                    <a:lnTo>
                      <a:pt x="135936" y="1359360"/>
                    </a:lnTo>
                    <a:cubicBezTo>
                      <a:pt x="60861" y="1359360"/>
                      <a:pt x="0" y="1298499"/>
                      <a:pt x="0" y="1223424"/>
                    </a:cubicBezTo>
                    <a:lnTo>
                      <a:pt x="0" y="135936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shade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shade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4584" tIns="104584" rIns="104584" bIns="104584" numCol="1" spcCol="1270" anchor="ctr" anchorCtr="0">
                <a:noAutofit/>
              </a:bodyPr>
              <a:lstStyle/>
              <a:p>
                <a:pPr marL="0" lvl="0" indent="0" algn="ctr" defTabSz="7556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IN" sz="1700" kern="1200"/>
                  <a:t>5 Why Analysis drills through symptom layers by repeatedly asking "Why?" to uncover root causes. </a:t>
                </a:r>
                <a:endParaRPr lang="en-US" sz="1700" kern="120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9D17CC4-DC6B-ECEB-FF60-FD22EB1BE333}"/>
                  </a:ext>
                </a:extLst>
              </p:cNvPr>
              <p:cNvSpPr/>
              <p:nvPr/>
            </p:nvSpPr>
            <p:spPr>
              <a:xfrm>
                <a:off x="4006300" y="4892910"/>
                <a:ext cx="3359732" cy="1359360"/>
              </a:xfrm>
              <a:custGeom>
                <a:avLst/>
                <a:gdLst>
                  <a:gd name="connsiteX0" fmla="*/ 0 w 3359732"/>
                  <a:gd name="connsiteY0" fmla="*/ 135936 h 1359360"/>
                  <a:gd name="connsiteX1" fmla="*/ 135936 w 3359732"/>
                  <a:gd name="connsiteY1" fmla="*/ 0 h 1359360"/>
                  <a:gd name="connsiteX2" fmla="*/ 3223796 w 3359732"/>
                  <a:gd name="connsiteY2" fmla="*/ 0 h 1359360"/>
                  <a:gd name="connsiteX3" fmla="*/ 3359732 w 3359732"/>
                  <a:gd name="connsiteY3" fmla="*/ 135936 h 1359360"/>
                  <a:gd name="connsiteX4" fmla="*/ 3359732 w 3359732"/>
                  <a:gd name="connsiteY4" fmla="*/ 1223424 h 1359360"/>
                  <a:gd name="connsiteX5" fmla="*/ 3223796 w 3359732"/>
                  <a:gd name="connsiteY5" fmla="*/ 1359360 h 1359360"/>
                  <a:gd name="connsiteX6" fmla="*/ 135936 w 3359732"/>
                  <a:gd name="connsiteY6" fmla="*/ 1359360 h 1359360"/>
                  <a:gd name="connsiteX7" fmla="*/ 0 w 3359732"/>
                  <a:gd name="connsiteY7" fmla="*/ 1223424 h 1359360"/>
                  <a:gd name="connsiteX8" fmla="*/ 0 w 3359732"/>
                  <a:gd name="connsiteY8" fmla="*/ 135936 h 135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59732" h="1359360">
                    <a:moveTo>
                      <a:pt x="0" y="135936"/>
                    </a:moveTo>
                    <a:cubicBezTo>
                      <a:pt x="0" y="60861"/>
                      <a:pt x="60861" y="0"/>
                      <a:pt x="135936" y="0"/>
                    </a:cubicBezTo>
                    <a:lnTo>
                      <a:pt x="3223796" y="0"/>
                    </a:lnTo>
                    <a:cubicBezTo>
                      <a:pt x="3298871" y="0"/>
                      <a:pt x="3359732" y="60861"/>
                      <a:pt x="3359732" y="135936"/>
                    </a:cubicBezTo>
                    <a:lnTo>
                      <a:pt x="3359732" y="1223424"/>
                    </a:lnTo>
                    <a:cubicBezTo>
                      <a:pt x="3359732" y="1298499"/>
                      <a:pt x="3298871" y="1359360"/>
                      <a:pt x="3223796" y="1359360"/>
                    </a:cubicBezTo>
                    <a:lnTo>
                      <a:pt x="135936" y="1359360"/>
                    </a:lnTo>
                    <a:cubicBezTo>
                      <a:pt x="60861" y="1359360"/>
                      <a:pt x="0" y="1298499"/>
                      <a:pt x="0" y="1223424"/>
                    </a:cubicBezTo>
                    <a:lnTo>
                      <a:pt x="0" y="135936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shade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shade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4584" tIns="104584" rIns="104584" bIns="104584" numCol="1" spcCol="1270" anchor="ctr" anchorCtr="0">
                <a:noAutofit/>
              </a:bodyPr>
              <a:lstStyle/>
              <a:p>
                <a:pPr marL="0" lvl="0" indent="0" algn="ctr" defTabSz="7556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IN" sz="1700" kern="1200"/>
                  <a:t>This simple yet powerful technique prevents superficial problem-solving by forcing deeper investigation beyond obvious symptoms.</a:t>
                </a:r>
                <a:endParaRPr lang="en-US" sz="1700" kern="120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C842F47-5365-A34C-7741-EA2C46C0289D}"/>
                  </a:ext>
                </a:extLst>
              </p:cNvPr>
              <p:cNvSpPr/>
              <p:nvPr/>
            </p:nvSpPr>
            <p:spPr>
              <a:xfrm>
                <a:off x="7947203" y="1537360"/>
                <a:ext cx="3094984" cy="1359360"/>
              </a:xfrm>
              <a:custGeom>
                <a:avLst/>
                <a:gdLst>
                  <a:gd name="connsiteX0" fmla="*/ 0 w 3359732"/>
                  <a:gd name="connsiteY0" fmla="*/ 135936 h 1359360"/>
                  <a:gd name="connsiteX1" fmla="*/ 135936 w 3359732"/>
                  <a:gd name="connsiteY1" fmla="*/ 0 h 1359360"/>
                  <a:gd name="connsiteX2" fmla="*/ 3223796 w 3359732"/>
                  <a:gd name="connsiteY2" fmla="*/ 0 h 1359360"/>
                  <a:gd name="connsiteX3" fmla="*/ 3359732 w 3359732"/>
                  <a:gd name="connsiteY3" fmla="*/ 135936 h 1359360"/>
                  <a:gd name="connsiteX4" fmla="*/ 3359732 w 3359732"/>
                  <a:gd name="connsiteY4" fmla="*/ 1223424 h 1359360"/>
                  <a:gd name="connsiteX5" fmla="*/ 3223796 w 3359732"/>
                  <a:gd name="connsiteY5" fmla="*/ 1359360 h 1359360"/>
                  <a:gd name="connsiteX6" fmla="*/ 135936 w 3359732"/>
                  <a:gd name="connsiteY6" fmla="*/ 1359360 h 1359360"/>
                  <a:gd name="connsiteX7" fmla="*/ 0 w 3359732"/>
                  <a:gd name="connsiteY7" fmla="*/ 1223424 h 1359360"/>
                  <a:gd name="connsiteX8" fmla="*/ 0 w 3359732"/>
                  <a:gd name="connsiteY8" fmla="*/ 135936 h 135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59732" h="1359360">
                    <a:moveTo>
                      <a:pt x="0" y="135936"/>
                    </a:moveTo>
                    <a:cubicBezTo>
                      <a:pt x="0" y="60861"/>
                      <a:pt x="60861" y="0"/>
                      <a:pt x="135936" y="0"/>
                    </a:cubicBezTo>
                    <a:lnTo>
                      <a:pt x="3223796" y="0"/>
                    </a:lnTo>
                    <a:cubicBezTo>
                      <a:pt x="3298871" y="0"/>
                      <a:pt x="3359732" y="60861"/>
                      <a:pt x="3359732" y="135936"/>
                    </a:cubicBezTo>
                    <a:lnTo>
                      <a:pt x="3359732" y="1223424"/>
                    </a:lnTo>
                    <a:cubicBezTo>
                      <a:pt x="3359732" y="1298499"/>
                      <a:pt x="3298871" y="1359360"/>
                      <a:pt x="3223796" y="1359360"/>
                    </a:cubicBezTo>
                    <a:lnTo>
                      <a:pt x="135936" y="1359360"/>
                    </a:lnTo>
                    <a:cubicBezTo>
                      <a:pt x="60861" y="1359360"/>
                      <a:pt x="0" y="1298499"/>
                      <a:pt x="0" y="1223424"/>
                    </a:cubicBezTo>
                    <a:lnTo>
                      <a:pt x="0" y="135936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shade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shade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4584" tIns="104584" rIns="104584" bIns="104584" numCol="1" spcCol="1270" anchor="ctr" anchorCtr="0">
                <a:noAutofit/>
              </a:bodyPr>
              <a:lstStyle/>
              <a:p>
                <a:pPr marL="0" lvl="0" indent="0" algn="ctr" defTabSz="7556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700" b="1" kern="1200"/>
                  <a:t>Use Case: </a:t>
                </a:r>
                <a:r>
                  <a:rPr lang="en-IN" sz="1700" kern="1200"/>
                  <a:t>Used for simple to </a:t>
                </a:r>
                <a:r>
                  <a:rPr lang="en-IN" sz="1700" u="sng" kern="1200"/>
                  <a:t>moderate problems </a:t>
                </a:r>
                <a:r>
                  <a:rPr lang="en-IN" sz="1700" kern="1200"/>
                  <a:t>where root cause lies within 5 levels of questioning depth.</a:t>
                </a:r>
                <a:endParaRPr lang="en-US" sz="1700" kern="1200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FE970CF-46D1-E02B-588D-15C7E05B2C44}"/>
                </a:ext>
              </a:extLst>
            </p:cNvPr>
            <p:cNvGrpSpPr/>
            <p:nvPr/>
          </p:nvGrpSpPr>
          <p:grpSpPr>
            <a:xfrm>
              <a:off x="3683477" y="848499"/>
              <a:ext cx="4906755" cy="4034051"/>
              <a:chOff x="3766929" y="1409699"/>
              <a:chExt cx="4677920" cy="3945152"/>
            </a:xfrm>
          </p:grpSpPr>
          <p:sp>
            <p:nvSpPr>
              <p:cNvPr id="12" name="Sechseck 2"/>
              <p:cNvSpPr/>
              <p:nvPr/>
            </p:nvSpPr>
            <p:spPr>
              <a:xfrm>
                <a:off x="6614299" y="3776790"/>
                <a:ext cx="1830550" cy="1578060"/>
              </a:xfrm>
              <a:prstGeom prst="hexagon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GB" sz="1800" b="1" i="0" u="none" baseline="0" dirty="0">
                    <a:solidFill>
                      <a:srgbClr val="666666"/>
                    </a:solidFill>
                    <a:latin typeface="BMWGroupTN Condensed" pitchFamily="50" charset="0"/>
                  </a:rPr>
                  <a:t>WHY</a:t>
                </a: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800" b="0" i="0" u="none" baseline="0" dirty="0">
                  <a:solidFill>
                    <a:srgbClr val="666666"/>
                  </a:solidFill>
                  <a:latin typeface="BMWGroupTN Condensed" pitchFamily="50" charset="0"/>
                </a:endParaRPr>
              </a:p>
            </p:txBody>
          </p:sp>
          <p:sp>
            <p:nvSpPr>
              <p:cNvPr id="13" name="Sechseck 12"/>
              <p:cNvSpPr/>
              <p:nvPr/>
            </p:nvSpPr>
            <p:spPr>
              <a:xfrm>
                <a:off x="5181485" y="1409699"/>
                <a:ext cx="1830550" cy="1578060"/>
              </a:xfrm>
              <a:prstGeom prst="hexagon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GB" sz="1800" b="1" i="0" u="none" baseline="0">
                    <a:solidFill>
                      <a:srgbClr val="666666"/>
                    </a:solidFill>
                    <a:latin typeface="BMWGroupTN Condensed" pitchFamily="50" charset="0"/>
                  </a:rPr>
                  <a:t>WHY</a:t>
                </a: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800" b="0" i="0" u="none" baseline="0" err="1">
                  <a:solidFill>
                    <a:srgbClr val="666666"/>
                  </a:solidFill>
                  <a:latin typeface="BMWGroupTN Condensed" pitchFamily="50" charset="0"/>
                </a:endParaRPr>
              </a:p>
            </p:txBody>
          </p:sp>
          <p:sp>
            <p:nvSpPr>
              <p:cNvPr id="14" name="Sechseck 13"/>
              <p:cNvSpPr/>
              <p:nvPr/>
            </p:nvSpPr>
            <p:spPr>
              <a:xfrm>
                <a:off x="3776058" y="3776791"/>
                <a:ext cx="1830550" cy="1578060"/>
              </a:xfrm>
              <a:prstGeom prst="hexagon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GB" sz="1800" b="1" i="0" u="none" baseline="0">
                    <a:solidFill>
                      <a:srgbClr val="666666"/>
                    </a:solidFill>
                    <a:latin typeface="BMWGroupTN Condensed" pitchFamily="50" charset="0"/>
                  </a:rPr>
                  <a:t>WHY</a:t>
                </a: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800" b="0" i="0" u="none" baseline="0" err="1">
                  <a:solidFill>
                    <a:srgbClr val="666666"/>
                  </a:solidFill>
                  <a:latin typeface="BMWGroupTN Condensed" pitchFamily="50" charset="0"/>
                </a:endParaRPr>
              </a:p>
            </p:txBody>
          </p:sp>
          <p:sp>
            <p:nvSpPr>
              <p:cNvPr id="15" name="Sechseck 14"/>
              <p:cNvSpPr/>
              <p:nvPr/>
            </p:nvSpPr>
            <p:spPr>
              <a:xfrm>
                <a:off x="3766929" y="2198730"/>
                <a:ext cx="1830550" cy="1578060"/>
              </a:xfrm>
              <a:prstGeom prst="hexagon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b="1" i="0" u="none" baseline="0">
                    <a:solidFill>
                      <a:srgbClr val="666666"/>
                    </a:solidFill>
                    <a:latin typeface="BMWGroupTN Condensed" pitchFamily="50" charset="0"/>
                  </a:rPr>
                  <a:t>WHY</a:t>
                </a:r>
              </a:p>
            </p:txBody>
          </p:sp>
          <p:sp>
            <p:nvSpPr>
              <p:cNvPr id="16" name="Sechseck 15"/>
              <p:cNvSpPr/>
              <p:nvPr/>
            </p:nvSpPr>
            <p:spPr>
              <a:xfrm>
                <a:off x="6614299" y="2198730"/>
                <a:ext cx="1830550" cy="1578060"/>
              </a:xfrm>
              <a:prstGeom prst="hexagon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GB" sz="1800" b="1" i="0" u="none" baseline="0">
                    <a:solidFill>
                      <a:srgbClr val="666666"/>
                    </a:solidFill>
                    <a:latin typeface="BMWGroupTN Condensed" pitchFamily="50" charset="0"/>
                  </a:rPr>
                  <a:t>WHY</a:t>
                </a: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800" b="0" i="0" u="none" baseline="0" err="1">
                  <a:solidFill>
                    <a:srgbClr val="666666"/>
                  </a:solidFill>
                  <a:latin typeface="BMWGroupTN Condensed" pitchFamily="50" charset="0"/>
                </a:endParaRPr>
              </a:p>
            </p:txBody>
          </p:sp>
          <p:sp>
            <p:nvSpPr>
              <p:cNvPr id="17" name="Sechseck 16"/>
              <p:cNvSpPr/>
              <p:nvPr/>
            </p:nvSpPr>
            <p:spPr>
              <a:xfrm>
                <a:off x="5190614" y="2987760"/>
                <a:ext cx="1830550" cy="1578060"/>
              </a:xfrm>
              <a:prstGeom prst="hexagon">
                <a:avLst/>
              </a:prstGeom>
              <a:solidFill>
                <a:schemeClr val="tx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800" b="1" i="0" u="none" baseline="0">
                    <a:solidFill>
                      <a:schemeClr val="bg1"/>
                    </a:solidFill>
                    <a:latin typeface="BMWGroupTN Condensed" pitchFamily="50" charset="0"/>
                  </a:rPr>
                  <a:t>ROOT CAUS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8941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6B5DF4E-09FF-4716-91CA-120D2BD31E8A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000375" y="1328966"/>
            <a:ext cx="6361442" cy="45971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C052DC-35C7-B988-C922-C5CDC50EC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BMW Group Condensed Bold" panose="020B0806020202020204" pitchFamily="34" charset="0"/>
              </a:rPr>
              <a:t>8 DISCIPLINES (8d) METHODLOG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5EE514E-9C0E-EE19-2635-805A161569D0}"/>
              </a:ext>
            </a:extLst>
          </p:cNvPr>
          <p:cNvGrpSpPr/>
          <p:nvPr/>
        </p:nvGrpSpPr>
        <p:grpSpPr>
          <a:xfrm>
            <a:off x="479425" y="1412875"/>
            <a:ext cx="11233150" cy="5157788"/>
            <a:chOff x="207029" y="1262500"/>
            <a:chExt cx="11777942" cy="5184433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AF115B8-07B7-3173-BEBE-031BCC408A2A}"/>
                </a:ext>
              </a:extLst>
            </p:cNvPr>
            <p:cNvGrpSpPr/>
            <p:nvPr/>
          </p:nvGrpSpPr>
          <p:grpSpPr>
            <a:xfrm>
              <a:off x="207029" y="1263851"/>
              <a:ext cx="3470698" cy="1182074"/>
              <a:chOff x="138020" y="4745001"/>
              <a:chExt cx="3470698" cy="1182074"/>
            </a:xfrm>
          </p:grpSpPr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C0CBAB9E-F511-9F47-840F-25965C256E52}"/>
                  </a:ext>
                </a:extLst>
              </p:cNvPr>
              <p:cNvSpPr/>
              <p:nvPr/>
            </p:nvSpPr>
            <p:spPr>
              <a:xfrm>
                <a:off x="138020" y="4745001"/>
                <a:ext cx="3470696" cy="1182074"/>
              </a:xfrm>
              <a:prstGeom prst="roundRect">
                <a:avLst/>
              </a:prstGeom>
              <a:solidFill>
                <a:schemeClr val="accent5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98D3E34-7327-AB58-9162-A50A3FCA99DE}"/>
                  </a:ext>
                </a:extLst>
              </p:cNvPr>
              <p:cNvSpPr txBox="1"/>
              <p:nvPr/>
            </p:nvSpPr>
            <p:spPr>
              <a:xfrm>
                <a:off x="287548" y="4873022"/>
                <a:ext cx="3321170" cy="92333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2"/>
                  </a:buClr>
                </a:pPr>
                <a:r>
                  <a:rPr lang="en-US" sz="18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Use Case: </a:t>
                </a:r>
                <a:br>
                  <a:rPr lang="en-US" sz="18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Applied when customer complaints require formal response with documented problem resolution and preventive measures.</a:t>
                </a:r>
                <a:endParaRPr lang="en-US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97D7722-8ACC-CB96-979F-7CEF31FA2874}"/>
                </a:ext>
              </a:extLst>
            </p:cNvPr>
            <p:cNvGrpSpPr/>
            <p:nvPr/>
          </p:nvGrpSpPr>
          <p:grpSpPr>
            <a:xfrm>
              <a:off x="8514275" y="1262500"/>
              <a:ext cx="3470696" cy="1182074"/>
              <a:chOff x="8364747" y="5040844"/>
              <a:chExt cx="3470696" cy="1182074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CC92CEC3-B5EA-02AC-A5C5-6D9FAC2B950A}"/>
                  </a:ext>
                </a:extLst>
              </p:cNvPr>
              <p:cNvSpPr/>
              <p:nvPr/>
            </p:nvSpPr>
            <p:spPr>
              <a:xfrm>
                <a:off x="8364747" y="5040844"/>
                <a:ext cx="3470696" cy="1182074"/>
              </a:xfrm>
              <a:prstGeom prst="roundRect">
                <a:avLst/>
              </a:prstGeom>
              <a:solidFill>
                <a:schemeClr val="accent5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C1B3A7BB-09BD-264C-D57D-983ECF5EC2C8}"/>
                  </a:ext>
                </a:extLst>
              </p:cNvPr>
              <p:cNvSpPr txBox="1"/>
              <p:nvPr/>
            </p:nvSpPr>
            <p:spPr>
              <a:xfrm>
                <a:off x="8514273" y="5150991"/>
                <a:ext cx="3321170" cy="92333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3597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MWGroupTN Condensed"/>
                    <a:ea typeface="+mn-ea"/>
                    <a:cs typeface="+mn-cs"/>
                  </a:rPr>
                  <a:t>Example: </a:t>
                </a:r>
                <a:b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MWGroupTN Condensed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MWGroupTN Condensed"/>
                    <a:ea typeface="+mn-ea"/>
                    <a:cs typeface="+mn-cs"/>
                  </a:rPr>
                  <a:t>Supplier receives complaint about defective brake components; uses 8D to systematically resolve and document corrective actions.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MWGroupTN Condensed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8E5B5A3-1215-F01C-272B-C7E5C1D224DF}"/>
                </a:ext>
              </a:extLst>
            </p:cNvPr>
            <p:cNvGrpSpPr/>
            <p:nvPr/>
          </p:nvGrpSpPr>
          <p:grpSpPr>
            <a:xfrm>
              <a:off x="488947" y="5797493"/>
              <a:ext cx="11355244" cy="649440"/>
              <a:chOff x="750498" y="5858607"/>
              <a:chExt cx="11355244" cy="649440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77F3DA1D-669B-ED59-7A5D-4A036048B3B0}"/>
                  </a:ext>
                </a:extLst>
              </p:cNvPr>
              <p:cNvSpPr/>
              <p:nvPr/>
            </p:nvSpPr>
            <p:spPr>
              <a:xfrm>
                <a:off x="750498" y="5858607"/>
                <a:ext cx="11234474" cy="649440"/>
              </a:xfrm>
              <a:prstGeom prst="roundRect">
                <a:avLst/>
              </a:prstGeom>
              <a:solidFill>
                <a:schemeClr val="accent5"/>
              </a:solidFill>
              <a:ln w="19050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B7C88CC-EBB0-6936-B266-1CCE9C8C2883}"/>
                  </a:ext>
                </a:extLst>
              </p:cNvPr>
              <p:cNvSpPr txBox="1"/>
              <p:nvPr/>
            </p:nvSpPr>
            <p:spPr>
              <a:xfrm>
                <a:off x="871268" y="5929411"/>
                <a:ext cx="11234474" cy="5078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4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8D provides structured problem-solving framework requiring cross-functional teams to systematically identify, correct, and prevent quality problems. </a:t>
                </a:r>
              </a:p>
              <a:p>
                <a: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2"/>
                  </a:buClr>
                  <a:buFont typeface="Arial" panose="020B0604020202020204" pitchFamily="34" charset="0"/>
                  <a:buChar char="•"/>
                </a:pPr>
                <a:r>
                  <a:rPr lang="en-US" sz="14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Each discipline builds on previous steps, ensuring comprehensive resolution with documented evidence for customer assurance.</a:t>
                </a:r>
                <a:endParaRPr lang="en-US" sz="1400" kern="1200">
                  <a:solidFill>
                    <a:schemeClr val="tx1"/>
                  </a:solidFill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6833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750e74c-66e3-4ede-99c4-e5859d03484a"/>
  <p:tag name="MIO_EKGUID" val="727eefc8-c00b-4f44-9e59-f24669db66bc"/>
  <p:tag name="MIO_UPDATE" val="True"/>
  <p:tag name="MIO_VERSION" val="18.12.2017 14:23:24"/>
  <p:tag name="MIO_DBID" val="917DD09C-76C3-4640-8E0D-382111CB3B69"/>
  <p:tag name="MIO_LASTDOWNLOADED" val="15.03.2018 14:36:59"/>
  <p:tag name="MIO_OBJECTNAME" val="Placeholder for Text (3)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750e74c-66e3-4ede-99c4-e5859d03484a"/>
  <p:tag name="MIO_EKGUID" val="727eefc8-c00b-4f44-9e59-f24669db66bc"/>
  <p:tag name="MIO_UPDATE" val="True"/>
  <p:tag name="MIO_VERSION" val="18.12.2017 14:23:24"/>
  <p:tag name="MIO_DBID" val="917DD09C-76C3-4640-8E0D-382111CB3B69"/>
  <p:tag name="MIO_LASTDOWNLOADED" val="15.03.2018 14:36:59"/>
  <p:tag name="MIO_OBJECTNAME" val="Placeholder for Text (3)"/>
  <p:tag name="MIO_LASTEDITORNAME" val="empower enterpri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 - Logo Legibility_2.pptx" id="{8B48DFBA-F3A5-47FE-8116-0F152EAA5068}" vid="{EF0C07A0-9125-4B0E-9BCC-C6F86E73A63D}"/>
    </a:ext>
  </a:extLst>
</a:theme>
</file>

<file path=ppt/theme/theme2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-M_D_16zu9.pptx" id="{D97154F9-977E-44C1-B7AA-783D390CE7E3}" vid="{A2EE9578-6FB2-4B6A-88FF-5E49CFC1BEEF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2C4B1EC7453F640AC4486184CB98267" ma:contentTypeVersion="5" ma:contentTypeDescription="Ein neues Dokument erstellen." ma:contentTypeScope="" ma:versionID="4c84307e1f5bd918af960347128cac4d">
  <xsd:schema xmlns:xsd="http://www.w3.org/2001/XMLSchema" xmlns:xs="http://www.w3.org/2001/XMLSchema" xmlns:p="http://schemas.microsoft.com/office/2006/metadata/properties" xmlns:ns3="7e462366-61a1-426d-80dd-b130ffdc5cd3" targetNamespace="http://schemas.microsoft.com/office/2006/metadata/properties" ma:root="true" ma:fieldsID="cbf25718846c8814f91ce5a70d16f211" ns3:_="">
    <xsd:import namespace="7e462366-61a1-426d-80dd-b130ffdc5cd3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62366-61a1-426d-80dd-b130ffdc5cd3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e462366-61a1-426d-80dd-b130ffdc5cd3" xsi:nil="true"/>
  </documentManagement>
</p:properties>
</file>

<file path=customXml/itemProps1.xml><?xml version="1.0" encoding="utf-8"?>
<ds:datastoreItem xmlns:ds="http://schemas.openxmlformats.org/officeDocument/2006/customXml" ds:itemID="{8E96633A-D2AD-4962-8D27-E49DFF835345}">
  <ds:schemaRefs>
    <ds:schemaRef ds:uri="7e462366-61a1-426d-80dd-b130ffdc5c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CFCD65-5E41-44CF-873A-DAEC5C00A6EC}">
  <ds:schemaRefs>
    <ds:schemaRef ds:uri="7e462366-61a1-426d-80dd-b130ffdc5c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6935750-240b-48e4-a615-66942a738439}" enabled="1" method="Standard" siteId="{ce849bab-cc1c-465b-b62e-18f07c9ac1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130</Words>
  <Application>Microsoft Office PowerPoint</Application>
  <PresentationFormat>Widescreen</PresentationFormat>
  <Paragraphs>253</Paragraphs>
  <Slides>3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45" baseType="lpstr">
      <vt:lpstr>Arial</vt:lpstr>
      <vt:lpstr>BMW Group Condensed</vt:lpstr>
      <vt:lpstr>BMW Group Condensed Bold</vt:lpstr>
      <vt:lpstr>BMWGroupTN Condensed</vt:lpstr>
      <vt:lpstr>BMWTypeNext Cn Pro Hebrew Med</vt:lpstr>
      <vt:lpstr>Calibri</vt:lpstr>
      <vt:lpstr>Monotype Sorts</vt:lpstr>
      <vt:lpstr>Montserrat</vt:lpstr>
      <vt:lpstr>Symbol</vt:lpstr>
      <vt:lpstr>Wingdings</vt:lpstr>
      <vt:lpstr>BMW Group 2021</vt:lpstr>
      <vt:lpstr>BMW Group 16:9</vt:lpstr>
      <vt:lpstr>think-cell Folie</vt:lpstr>
      <vt:lpstr>think-cell Slide</vt:lpstr>
      <vt:lpstr>Total vehicle quality management tv-435 Training on problem Solving Methodologies  </vt:lpstr>
      <vt:lpstr>What is a “Problem”?</vt:lpstr>
      <vt:lpstr>Introduction to Problem Solving</vt:lpstr>
      <vt:lpstr>PowerPoint Presentation</vt:lpstr>
      <vt:lpstr>Problem Solving Framework</vt:lpstr>
      <vt:lpstr>Problem Solving Methodologies</vt:lpstr>
      <vt:lpstr>PowerPoint Presentation</vt:lpstr>
      <vt:lpstr>5 WHY ANALYSIS</vt:lpstr>
      <vt:lpstr>8 DISCIPLINES (8d) METHODLOGIES</vt:lpstr>
      <vt:lpstr>FAILURE MODE AND EFFECT ANALYSIS (fmea)</vt:lpstr>
      <vt:lpstr>PDCA CYCLE</vt:lpstr>
      <vt:lpstr>CAUSE ANALYSIS TOOLS</vt:lpstr>
      <vt:lpstr>ROOT Cause Analysis</vt:lpstr>
      <vt:lpstr>cause and effect diagrams</vt:lpstr>
      <vt:lpstr>cause and effect diagrams(Contd….)</vt:lpstr>
      <vt:lpstr>PowerPoint Presentation</vt:lpstr>
      <vt:lpstr>pareto diagrams(Contd….)  </vt:lpstr>
      <vt:lpstr>PowerPoint Presentation</vt:lpstr>
      <vt:lpstr>PowerPoint Presentation</vt:lpstr>
      <vt:lpstr>PowerPoint Presentation</vt:lpstr>
      <vt:lpstr>Six-sigma (dmadv) METHODOLOGY</vt:lpstr>
      <vt:lpstr>Preventive measures</vt:lpstr>
      <vt:lpstr>7 qc tools</vt:lpstr>
      <vt:lpstr>New QC Tools Tool no. 1</vt:lpstr>
      <vt:lpstr>AFFINITY DIAGRAM</vt:lpstr>
      <vt:lpstr>NEW qC tools Tool no. 2</vt:lpstr>
      <vt:lpstr>FAULT TREE ANALYSIS (fta)</vt:lpstr>
      <vt:lpstr>NEW qC tools Tool no. 3</vt:lpstr>
      <vt:lpstr>MATRIX DIAGRAM</vt:lpstr>
      <vt:lpstr>MATRIX DIAGRAM(contd..)</vt:lpstr>
      <vt:lpstr>Classic And New QC tools use in process identification &amp;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anesh Brahma, (QXZ6F06)</dc:creator>
  <cp:lastModifiedBy>Joseph Kevin, (QXZ6BV5)</cp:lastModifiedBy>
  <cp:revision>12</cp:revision>
  <dcterms:created xsi:type="dcterms:W3CDTF">2025-09-19T09:23:02Z</dcterms:created>
  <dcterms:modified xsi:type="dcterms:W3CDTF">2025-09-23T02:3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C4B1EC7453F640AC4486184CB98267</vt:lpwstr>
  </property>
  <property fmtid="{D5CDD505-2E9C-101B-9397-08002B2CF9AE}" pid="3" name="ClassificationContentMarkingFooterLocations">
    <vt:lpwstr>BMW Group 2021:4\BMW Group 16\:9:7</vt:lpwstr>
  </property>
  <property fmtid="{D5CDD505-2E9C-101B-9397-08002B2CF9AE}" pid="4" name="ClassificationContentMarkingFooterText">
    <vt:lpwstr>CONFIDENTIAL</vt:lpwstr>
  </property>
</Properties>
</file>